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93455" r:id="rId4"/>
  </p:sldMasterIdLst>
  <p:notesMasterIdLst>
    <p:notesMasterId r:id="rId10"/>
  </p:notesMasterIdLst>
  <p:handoutMasterIdLst>
    <p:handoutMasterId r:id="rId11"/>
  </p:handoutMasterIdLst>
  <p:sldIdLst>
    <p:sldId id="509" r:id="rId5"/>
    <p:sldId id="510" r:id="rId6"/>
    <p:sldId id="511" r:id="rId7"/>
    <p:sldId id="512" r:id="rId8"/>
    <p:sldId id="513" r:id="rId9"/>
  </p:sldIdLst>
  <p:sldSz cx="12192000" cy="6858000"/>
  <p:notesSz cx="6797675" cy="9926638"/>
  <p:custDataLst>
    <p:tags r:id="rId12"/>
  </p:custDataLst>
  <p:defaultTextStyle>
    <a:defPPr>
      <a:defRPr lang="en-US"/>
    </a:defPPr>
    <a:lvl1pPr marL="0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393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786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180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572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6964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357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5752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144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folie" id="{8FBA3499-3DD4-4F3B-8A52-14313FE44E36}">
          <p14:sldIdLst/>
        </p14:section>
        <p14:section name="Präsentation" id="{81A25F5C-8F61-412C-9778-AA78D0189F39}">
          <p14:sldIdLst>
            <p14:sldId id="509"/>
            <p14:sldId id="510"/>
            <p14:sldId id="511"/>
            <p14:sldId id="512"/>
            <p14:sldId id="513"/>
          </p14:sldIdLst>
        </p14:section>
        <p14:section name="Backup" id="{69C9870A-2F3A-41B3-86D2-5E54737249F4}">
          <p14:sldIdLst/>
        </p14:section>
      </p14:sectionLst>
    </p:ext>
    <p:ext uri="{EFAFB233-063F-42B5-8137-9DF3F51BA10A}">
      <p15:sldGuideLst xmlns:p15="http://schemas.microsoft.com/office/powerpoint/2012/main">
        <p15:guide id="23" pos="3840">
          <p15:clr>
            <a:srgbClr val="A4A3A4"/>
          </p15:clr>
        </p15:guide>
        <p15:guide id="24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57" userDrawn="1">
          <p15:clr>
            <a:srgbClr val="A4A3A4"/>
          </p15:clr>
        </p15:guide>
        <p15:guide id="2" pos="2877" userDrawn="1">
          <p15:clr>
            <a:srgbClr val="A4A3A4"/>
          </p15:clr>
        </p15:guide>
        <p15:guide id="3" orient="horz" pos="2914" userDrawn="1">
          <p15:clr>
            <a:srgbClr val="A4A3A4"/>
          </p15:clr>
        </p15:guide>
        <p15:guide id="4" orient="horz" pos="2775" userDrawn="1">
          <p15:clr>
            <a:srgbClr val="A4A3A4"/>
          </p15:clr>
        </p15:guide>
        <p15:guide id="5" orient="horz" pos="430" userDrawn="1">
          <p15:clr>
            <a:srgbClr val="A4A3A4"/>
          </p15:clr>
        </p15:guide>
        <p15:guide id="6" orient="horz" pos="5786" userDrawn="1">
          <p15:clr>
            <a:srgbClr val="A4A3A4"/>
          </p15:clr>
        </p15:guide>
        <p15:guide id="7" orient="horz" pos="5958" userDrawn="1">
          <p15:clr>
            <a:srgbClr val="A4A3A4"/>
          </p15:clr>
        </p15:guide>
        <p15:guide id="8" orient="horz" pos="6081" userDrawn="1">
          <p15:clr>
            <a:srgbClr val="A4A3A4"/>
          </p15:clr>
        </p15:guide>
        <p15:guide id="9" orient="horz" pos="318" userDrawn="1">
          <p15:clr>
            <a:srgbClr val="A4A3A4"/>
          </p15:clr>
        </p15:guide>
        <p15:guide id="10" orient="horz" pos="197" userDrawn="1">
          <p15:clr>
            <a:srgbClr val="A4A3A4"/>
          </p15:clr>
        </p15:guide>
        <p15:guide id="11" pos="590" userDrawn="1">
          <p15:clr>
            <a:srgbClr val="A4A3A4"/>
          </p15:clr>
        </p15:guide>
        <p15:guide id="12" pos="3715" userDrawn="1">
          <p15:clr>
            <a:srgbClr val="A4A3A4"/>
          </p15:clr>
        </p15:guide>
        <p15:guide id="13" orient="horz" pos="2197" userDrawn="1">
          <p15:clr>
            <a:srgbClr val="A4A3A4"/>
          </p15:clr>
        </p15:guide>
        <p15:guide id="14" orient="horz" pos="2515" userDrawn="1">
          <p15:clr>
            <a:srgbClr val="A4A3A4"/>
          </p15:clr>
        </p15:guide>
        <p15:guide id="15" orient="horz" pos="249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cus Schueler" initials="MS" lastIdx="1" clrIdx="0">
    <p:extLst>
      <p:ext uri="{19B8F6BF-5375-455C-9EA6-DF929625EA0E}">
        <p15:presenceInfo xmlns:p15="http://schemas.microsoft.com/office/powerpoint/2012/main" userId="S-1-5-21-2870579293-1807738833-3378341844-188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4" scaleToFitPaper="1" frameSlides="1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15BC"/>
    <a:srgbClr val="7676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8B1032C-EA38-4F05-BA0D-38AFFFC7BED3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416" autoAdjust="0"/>
    <p:restoredTop sz="93750" autoAdjust="0"/>
  </p:normalViewPr>
  <p:slideViewPr>
    <p:cSldViewPr snapToObjects="1">
      <p:cViewPr varScale="1">
        <p:scale>
          <a:sx n="224" d="100"/>
          <a:sy n="224" d="100"/>
        </p:scale>
        <p:origin x="2792" y="168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796"/>
    </p:cViewPr>
  </p:sorterViewPr>
  <p:notesViewPr>
    <p:cSldViewPr snapToObjects="1" showGuides="1">
      <p:cViewPr>
        <p:scale>
          <a:sx n="125" d="100"/>
          <a:sy n="125" d="100"/>
        </p:scale>
        <p:origin x="2967" y="-531"/>
      </p:cViewPr>
      <p:guideLst>
        <p:guide orient="horz" pos="2157"/>
        <p:guide pos="2877"/>
        <p:guide orient="horz" pos="2914"/>
        <p:guide orient="horz" pos="2775"/>
        <p:guide orient="horz" pos="430"/>
        <p:guide orient="horz" pos="5786"/>
        <p:guide orient="horz" pos="5958"/>
        <p:guide orient="horz" pos="6081"/>
        <p:guide orient="horz" pos="318"/>
        <p:guide orient="horz" pos="197"/>
        <p:guide pos="590"/>
        <p:guide pos="3715"/>
        <p:guide orient="horz" pos="2197"/>
        <p:guide orient="horz" pos="2515"/>
        <p:guide orient="horz" pos="249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annick Pinkinelli" userId="36a955ab-6d60-48cd-874f-a3bc233ef9fb" providerId="ADAL" clId="{9B1CDC49-D73D-4008-8ABD-FAA8D723A402}"/>
    <pc:docChg chg="modSld">
      <pc:chgData name="Yannick Pinkinelli" userId="36a955ab-6d60-48cd-874f-a3bc233ef9fb" providerId="ADAL" clId="{9B1CDC49-D73D-4008-8ABD-FAA8D723A402}" dt="2021-03-23T10:05:58.017" v="33" actId="1035"/>
      <pc:docMkLst>
        <pc:docMk/>
      </pc:docMkLst>
      <pc:sldChg chg="modSp mod">
        <pc:chgData name="Yannick Pinkinelli" userId="36a955ab-6d60-48cd-874f-a3bc233ef9fb" providerId="ADAL" clId="{9B1CDC49-D73D-4008-8ABD-FAA8D723A402}" dt="2021-03-23T10:05:58.017" v="33" actId="1035"/>
        <pc:sldMkLst>
          <pc:docMk/>
          <pc:sldMk cId="1697089597" sldId="496"/>
        </pc:sldMkLst>
        <pc:spChg chg="mod">
          <ac:chgData name="Yannick Pinkinelli" userId="36a955ab-6d60-48cd-874f-a3bc233ef9fb" providerId="ADAL" clId="{9B1CDC49-D73D-4008-8ABD-FAA8D723A402}" dt="2021-03-23T10:05:00.784" v="29"/>
          <ac:spMkLst>
            <pc:docMk/>
            <pc:sldMk cId="1697089597" sldId="496"/>
            <ac:spMk id="247" creationId="{C6D25E3C-2AE3-4C1C-878B-37A3E925EA6C}"/>
          </ac:spMkLst>
        </pc:spChg>
        <pc:grpChg chg="mod">
          <ac:chgData name="Yannick Pinkinelli" userId="36a955ab-6d60-48cd-874f-a3bc233ef9fb" providerId="ADAL" clId="{9B1CDC49-D73D-4008-8ABD-FAA8D723A402}" dt="2021-03-23T10:05:58.017" v="33" actId="1035"/>
          <ac:grpSpMkLst>
            <pc:docMk/>
            <pc:sldMk cId="1697089597" sldId="496"/>
            <ac:grpSpMk id="2" creationId="{9CFFAB67-3702-404E-A500-07C3721764C3}"/>
          </ac:grpSpMkLst>
        </pc:grpChg>
      </pc:sldChg>
      <pc:sldChg chg="modSp mod">
        <pc:chgData name="Yannick Pinkinelli" userId="36a955ab-6d60-48cd-874f-a3bc233ef9fb" providerId="ADAL" clId="{9B1CDC49-D73D-4008-8ABD-FAA8D723A402}" dt="2021-03-23T10:05:54.060" v="32" actId="1035"/>
        <pc:sldMkLst>
          <pc:docMk/>
          <pc:sldMk cId="163577000" sldId="507"/>
        </pc:sldMkLst>
        <pc:spChg chg="mod">
          <ac:chgData name="Yannick Pinkinelli" userId="36a955ab-6d60-48cd-874f-a3bc233ef9fb" providerId="ADAL" clId="{9B1CDC49-D73D-4008-8ABD-FAA8D723A402}" dt="2021-03-23T10:04:45.857" v="20" actId="20577"/>
          <ac:spMkLst>
            <pc:docMk/>
            <pc:sldMk cId="163577000" sldId="507"/>
            <ac:spMk id="244" creationId="{A49D4799-71F8-467F-BD9F-FC431BB79ADC}"/>
          </ac:spMkLst>
        </pc:spChg>
        <pc:grpChg chg="mod">
          <ac:chgData name="Yannick Pinkinelli" userId="36a955ab-6d60-48cd-874f-a3bc233ef9fb" providerId="ADAL" clId="{9B1CDC49-D73D-4008-8ABD-FAA8D723A402}" dt="2021-03-23T10:05:54.060" v="32" actId="1035"/>
          <ac:grpSpMkLst>
            <pc:docMk/>
            <pc:sldMk cId="163577000" sldId="507"/>
            <ac:grpSpMk id="242" creationId="{831A2741-BE31-4BD0-8DA0-20D72E69B6C7}"/>
          </ac:grpSpMkLst>
        </pc:grpChg>
      </pc:sldChg>
    </pc:docChg>
  </pc:docChgLst>
  <pc:docChgLst>
    <pc:chgData name="Barbara Schindler" userId="fa289460-f641-4c09-a7ed-c30ef1a3a221" providerId="ADAL" clId="{30FB7D48-16C7-43D3-9A3E-873933065505}"/>
    <pc:docChg chg="undo custSel modSld">
      <pc:chgData name="Barbara Schindler" userId="fa289460-f641-4c09-a7ed-c30ef1a3a221" providerId="ADAL" clId="{30FB7D48-16C7-43D3-9A3E-873933065505}" dt="2021-03-15T12:39:39.619" v="595" actId="962"/>
      <pc:docMkLst>
        <pc:docMk/>
      </pc:docMkLst>
      <pc:sldChg chg="modSp">
        <pc:chgData name="Barbara Schindler" userId="fa289460-f641-4c09-a7ed-c30ef1a3a221" providerId="ADAL" clId="{30FB7D48-16C7-43D3-9A3E-873933065505}" dt="2021-03-15T12:38:05.246" v="309" actId="962"/>
        <pc:sldMkLst>
          <pc:docMk/>
          <pc:sldMk cId="211756763" sldId="335"/>
        </pc:sldMkLst>
        <pc:spChg chg="mod">
          <ac:chgData name="Barbara Schindler" userId="fa289460-f641-4c09-a7ed-c30ef1a3a221" providerId="ADAL" clId="{30FB7D48-16C7-43D3-9A3E-873933065505}" dt="2021-03-15T12:38:05.246" v="309" actId="962"/>
          <ac:spMkLst>
            <pc:docMk/>
            <pc:sldMk cId="211756763" sldId="335"/>
            <ac:spMk id="38" creationId="{1DB019F8-0A18-42A0-9600-4BD8786ABAA1}"/>
          </ac:spMkLst>
        </pc:spChg>
        <pc:spChg chg="mod">
          <ac:chgData name="Barbara Schindler" userId="fa289460-f641-4c09-a7ed-c30ef1a3a221" providerId="ADAL" clId="{30FB7D48-16C7-43D3-9A3E-873933065505}" dt="2021-03-15T12:38:05.246" v="309" actId="962"/>
          <ac:spMkLst>
            <pc:docMk/>
            <pc:sldMk cId="211756763" sldId="335"/>
            <ac:spMk id="39" creationId="{94EA5BC4-E6C5-41D7-9FF7-7318711D5DC7}"/>
          </ac:spMkLst>
        </pc:spChg>
        <pc:spChg chg="mod">
          <ac:chgData name="Barbara Schindler" userId="fa289460-f641-4c09-a7ed-c30ef1a3a221" providerId="ADAL" clId="{30FB7D48-16C7-43D3-9A3E-873933065505}" dt="2021-03-15T12:38:05.246" v="309" actId="962"/>
          <ac:spMkLst>
            <pc:docMk/>
            <pc:sldMk cId="211756763" sldId="335"/>
            <ac:spMk id="40" creationId="{5CB0F389-FB70-477B-8AEE-79DF64A248E9}"/>
          </ac:spMkLst>
        </pc:spChg>
        <pc:grpChg chg="mod">
          <ac:chgData name="Barbara Schindler" userId="fa289460-f641-4c09-a7ed-c30ef1a3a221" providerId="ADAL" clId="{30FB7D48-16C7-43D3-9A3E-873933065505}" dt="2021-03-15T12:38:05.246" v="309" actId="962"/>
          <ac:grpSpMkLst>
            <pc:docMk/>
            <pc:sldMk cId="211756763" sldId="335"/>
            <ac:grpSpMk id="10" creationId="{CAA4CF57-4179-42EE-A46D-BB6AC6AAC7A5}"/>
          </ac:grpSpMkLst>
        </pc:grpChg>
        <pc:picChg chg="mod">
          <ac:chgData name="Barbara Schindler" userId="fa289460-f641-4c09-a7ed-c30ef1a3a221" providerId="ADAL" clId="{30FB7D48-16C7-43D3-9A3E-873933065505}" dt="2021-03-15T12:38:05.246" v="309" actId="962"/>
          <ac:picMkLst>
            <pc:docMk/>
            <pc:sldMk cId="211756763" sldId="335"/>
            <ac:picMk id="34" creationId="{42B13817-3EF2-44C7-8C3A-F817470AF994}"/>
          </ac:picMkLst>
        </pc:picChg>
      </pc:sldChg>
      <pc:sldChg chg="modSp">
        <pc:chgData name="Barbara Schindler" userId="fa289460-f641-4c09-a7ed-c30ef1a3a221" providerId="ADAL" clId="{30FB7D48-16C7-43D3-9A3E-873933065505}" dt="2021-03-15T12:38:21.419" v="355" actId="962"/>
        <pc:sldMkLst>
          <pc:docMk/>
          <pc:sldMk cId="228213141" sldId="377"/>
        </pc:sldMkLst>
        <pc:spChg chg="mod">
          <ac:chgData name="Barbara Schindler" userId="fa289460-f641-4c09-a7ed-c30ef1a3a221" providerId="ADAL" clId="{30FB7D48-16C7-43D3-9A3E-873933065505}" dt="2021-03-15T12:38:21.419" v="355" actId="962"/>
          <ac:spMkLst>
            <pc:docMk/>
            <pc:sldMk cId="228213141" sldId="377"/>
            <ac:spMk id="14" creationId="{0951028B-56A0-4E6F-941C-A8FE10F66A40}"/>
          </ac:spMkLst>
        </pc:spChg>
        <pc:spChg chg="mod">
          <ac:chgData name="Barbara Schindler" userId="fa289460-f641-4c09-a7ed-c30ef1a3a221" providerId="ADAL" clId="{30FB7D48-16C7-43D3-9A3E-873933065505}" dt="2021-03-15T12:38:21.419" v="355" actId="962"/>
          <ac:spMkLst>
            <pc:docMk/>
            <pc:sldMk cId="228213141" sldId="377"/>
            <ac:spMk id="34" creationId="{B45599FC-C462-46FE-85BE-07CDA1C963A7}"/>
          </ac:spMkLst>
        </pc:spChg>
        <pc:spChg chg="mod">
          <ac:chgData name="Barbara Schindler" userId="fa289460-f641-4c09-a7ed-c30ef1a3a221" providerId="ADAL" clId="{30FB7D48-16C7-43D3-9A3E-873933065505}" dt="2021-03-15T12:38:21.419" v="355" actId="962"/>
          <ac:spMkLst>
            <pc:docMk/>
            <pc:sldMk cId="228213141" sldId="377"/>
            <ac:spMk id="186" creationId="{76A91933-023B-47FF-A1C0-8CB05D9150DD}"/>
          </ac:spMkLst>
        </pc:spChg>
        <pc:spChg chg="mod">
          <ac:chgData name="Barbara Schindler" userId="fa289460-f641-4c09-a7ed-c30ef1a3a221" providerId="ADAL" clId="{30FB7D48-16C7-43D3-9A3E-873933065505}" dt="2021-03-15T12:38:21.419" v="355" actId="962"/>
          <ac:spMkLst>
            <pc:docMk/>
            <pc:sldMk cId="228213141" sldId="377"/>
            <ac:spMk id="191" creationId="{20D1AB90-11F2-41A0-9CB2-410A886D1773}"/>
          </ac:spMkLst>
        </pc:spChg>
        <pc:spChg chg="mod">
          <ac:chgData name="Barbara Schindler" userId="fa289460-f641-4c09-a7ed-c30ef1a3a221" providerId="ADAL" clId="{30FB7D48-16C7-43D3-9A3E-873933065505}" dt="2021-03-15T12:38:21.419" v="355" actId="962"/>
          <ac:spMkLst>
            <pc:docMk/>
            <pc:sldMk cId="228213141" sldId="377"/>
            <ac:spMk id="199" creationId="{0A1C00CC-F4AD-4CD9-A0AC-AF037A534234}"/>
          </ac:spMkLst>
        </pc:spChg>
        <pc:spChg chg="mod">
          <ac:chgData name="Barbara Schindler" userId="fa289460-f641-4c09-a7ed-c30ef1a3a221" providerId="ADAL" clId="{30FB7D48-16C7-43D3-9A3E-873933065505}" dt="2021-03-15T12:38:21.419" v="355" actId="962"/>
          <ac:spMkLst>
            <pc:docMk/>
            <pc:sldMk cId="228213141" sldId="377"/>
            <ac:spMk id="218" creationId="{57A93680-3462-45EE-897C-FD7B8A5F986F}"/>
          </ac:spMkLst>
        </pc:spChg>
        <pc:grpChg chg="mod">
          <ac:chgData name="Barbara Schindler" userId="fa289460-f641-4c09-a7ed-c30ef1a3a221" providerId="ADAL" clId="{30FB7D48-16C7-43D3-9A3E-873933065505}" dt="2021-03-15T12:38:21.419" v="355" actId="962"/>
          <ac:grpSpMkLst>
            <pc:docMk/>
            <pc:sldMk cId="228213141" sldId="377"/>
            <ac:grpSpMk id="79" creationId="{497C2570-BD2A-4DAE-A076-D84CBA6C9193}"/>
          </ac:grpSpMkLst>
        </pc:grpChg>
        <pc:grpChg chg="mod">
          <ac:chgData name="Barbara Schindler" userId="fa289460-f641-4c09-a7ed-c30ef1a3a221" providerId="ADAL" clId="{30FB7D48-16C7-43D3-9A3E-873933065505}" dt="2021-03-15T12:38:21.419" v="355" actId="962"/>
          <ac:grpSpMkLst>
            <pc:docMk/>
            <pc:sldMk cId="228213141" sldId="377"/>
            <ac:grpSpMk id="83" creationId="{D58FB7BD-12C1-46DD-A9A3-831F88437221}"/>
          </ac:grpSpMkLst>
        </pc:grpChg>
        <pc:grpChg chg="mod">
          <ac:chgData name="Barbara Schindler" userId="fa289460-f641-4c09-a7ed-c30ef1a3a221" providerId="ADAL" clId="{30FB7D48-16C7-43D3-9A3E-873933065505}" dt="2021-03-15T12:38:21.419" v="355" actId="962"/>
          <ac:grpSpMkLst>
            <pc:docMk/>
            <pc:sldMk cId="228213141" sldId="377"/>
            <ac:grpSpMk id="90" creationId="{F2D1306A-0A13-41F8-9E8E-87161EFAFF9D}"/>
          </ac:grpSpMkLst>
        </pc:grpChg>
        <pc:grpChg chg="mod">
          <ac:chgData name="Barbara Schindler" userId="fa289460-f641-4c09-a7ed-c30ef1a3a221" providerId="ADAL" clId="{30FB7D48-16C7-43D3-9A3E-873933065505}" dt="2021-03-15T12:38:21.419" v="355" actId="962"/>
          <ac:grpSpMkLst>
            <pc:docMk/>
            <pc:sldMk cId="228213141" sldId="377"/>
            <ac:grpSpMk id="108" creationId="{01870072-B265-4466-96D1-1B55B18BA6DD}"/>
          </ac:grpSpMkLst>
        </pc:grpChg>
        <pc:grpChg chg="mod">
          <ac:chgData name="Barbara Schindler" userId="fa289460-f641-4c09-a7ed-c30ef1a3a221" providerId="ADAL" clId="{30FB7D48-16C7-43D3-9A3E-873933065505}" dt="2021-03-15T12:38:21.419" v="355" actId="962"/>
          <ac:grpSpMkLst>
            <pc:docMk/>
            <pc:sldMk cId="228213141" sldId="377"/>
            <ac:grpSpMk id="162" creationId="{E6F86E15-3FE5-40CA-9F6A-279603C6CC93}"/>
          </ac:grpSpMkLst>
        </pc:grpChg>
        <pc:picChg chg="mod">
          <ac:chgData name="Barbara Schindler" userId="fa289460-f641-4c09-a7ed-c30ef1a3a221" providerId="ADAL" clId="{30FB7D48-16C7-43D3-9A3E-873933065505}" dt="2021-03-15T12:38:21.419" v="355" actId="962"/>
          <ac:picMkLst>
            <pc:docMk/>
            <pc:sldMk cId="228213141" sldId="377"/>
            <ac:picMk id="24" creationId="{DDAAD1CA-45CC-4680-8B9D-9858974C6476}"/>
          </ac:picMkLst>
        </pc:picChg>
      </pc:sldChg>
      <pc:sldChg chg="modSp">
        <pc:chgData name="Barbara Schindler" userId="fa289460-f641-4c09-a7ed-c30ef1a3a221" providerId="ADAL" clId="{30FB7D48-16C7-43D3-9A3E-873933065505}" dt="2021-03-15T12:38:26.818" v="375" actId="962"/>
        <pc:sldMkLst>
          <pc:docMk/>
          <pc:sldMk cId="3625476780" sldId="383"/>
        </pc:sldMkLst>
        <pc:spChg chg="mod">
          <ac:chgData name="Barbara Schindler" userId="fa289460-f641-4c09-a7ed-c30ef1a3a221" providerId="ADAL" clId="{30FB7D48-16C7-43D3-9A3E-873933065505}" dt="2021-03-15T12:38:26.818" v="375" actId="962"/>
          <ac:spMkLst>
            <pc:docMk/>
            <pc:sldMk cId="3625476780" sldId="383"/>
            <ac:spMk id="3" creationId="{00000000-0000-0000-0000-000000000000}"/>
          </ac:spMkLst>
        </pc:spChg>
        <pc:spChg chg="mod">
          <ac:chgData name="Barbara Schindler" userId="fa289460-f641-4c09-a7ed-c30ef1a3a221" providerId="ADAL" clId="{30FB7D48-16C7-43D3-9A3E-873933065505}" dt="2021-03-15T12:38:26.818" v="375" actId="962"/>
          <ac:spMkLst>
            <pc:docMk/>
            <pc:sldMk cId="3625476780" sldId="383"/>
            <ac:spMk id="4" creationId="{00000000-0000-0000-0000-000000000000}"/>
          </ac:spMkLst>
        </pc:spChg>
        <pc:spChg chg="mod">
          <ac:chgData name="Barbara Schindler" userId="fa289460-f641-4c09-a7ed-c30ef1a3a221" providerId="ADAL" clId="{30FB7D48-16C7-43D3-9A3E-873933065505}" dt="2021-03-15T12:38:26.818" v="375" actId="962"/>
          <ac:spMkLst>
            <pc:docMk/>
            <pc:sldMk cId="3625476780" sldId="383"/>
            <ac:spMk id="5" creationId="{00000000-0000-0000-0000-000000000000}"/>
          </ac:spMkLst>
        </pc:spChg>
        <pc:spChg chg="mod">
          <ac:chgData name="Barbara Schindler" userId="fa289460-f641-4c09-a7ed-c30ef1a3a221" providerId="ADAL" clId="{30FB7D48-16C7-43D3-9A3E-873933065505}" dt="2021-03-15T12:38:26.818" v="375" actId="962"/>
          <ac:spMkLst>
            <pc:docMk/>
            <pc:sldMk cId="3625476780" sldId="383"/>
            <ac:spMk id="21" creationId="{FE186E61-EF08-4973-87FC-5DD5914D5C70}"/>
          </ac:spMkLst>
        </pc:spChg>
        <pc:spChg chg="mod">
          <ac:chgData name="Barbara Schindler" userId="fa289460-f641-4c09-a7ed-c30ef1a3a221" providerId="ADAL" clId="{30FB7D48-16C7-43D3-9A3E-873933065505}" dt="2021-03-15T12:38:26.818" v="375" actId="962"/>
          <ac:spMkLst>
            <pc:docMk/>
            <pc:sldMk cId="3625476780" sldId="383"/>
            <ac:spMk id="69" creationId="{04951067-C6D4-41DD-8286-4152C94C93D8}"/>
          </ac:spMkLst>
        </pc:spChg>
        <pc:spChg chg="mod">
          <ac:chgData name="Barbara Schindler" userId="fa289460-f641-4c09-a7ed-c30ef1a3a221" providerId="ADAL" clId="{30FB7D48-16C7-43D3-9A3E-873933065505}" dt="2021-03-15T12:38:26.818" v="375" actId="962"/>
          <ac:spMkLst>
            <pc:docMk/>
            <pc:sldMk cId="3625476780" sldId="383"/>
            <ac:spMk id="146" creationId="{E68D43D9-F4C0-48C5-96D5-D31F0EA18BE1}"/>
          </ac:spMkLst>
        </pc:spChg>
        <pc:spChg chg="mod">
          <ac:chgData name="Barbara Schindler" userId="fa289460-f641-4c09-a7ed-c30ef1a3a221" providerId="ADAL" clId="{30FB7D48-16C7-43D3-9A3E-873933065505}" dt="2021-03-15T12:38:26.818" v="375" actId="962"/>
          <ac:spMkLst>
            <pc:docMk/>
            <pc:sldMk cId="3625476780" sldId="383"/>
            <ac:spMk id="163" creationId="{274F2ED0-E93D-4CEE-B5F0-655FF6A7D71E}"/>
          </ac:spMkLst>
        </pc:spChg>
        <pc:spChg chg="mod">
          <ac:chgData name="Barbara Schindler" userId="fa289460-f641-4c09-a7ed-c30ef1a3a221" providerId="ADAL" clId="{30FB7D48-16C7-43D3-9A3E-873933065505}" dt="2021-03-15T12:38:26.818" v="375" actId="962"/>
          <ac:spMkLst>
            <pc:docMk/>
            <pc:sldMk cId="3625476780" sldId="383"/>
            <ac:spMk id="164" creationId="{9B94E5E9-3979-4BFD-8323-CDD6506EAE63}"/>
          </ac:spMkLst>
        </pc:spChg>
        <pc:spChg chg="mod">
          <ac:chgData name="Barbara Schindler" userId="fa289460-f641-4c09-a7ed-c30ef1a3a221" providerId="ADAL" clId="{30FB7D48-16C7-43D3-9A3E-873933065505}" dt="2021-03-15T12:38:26.818" v="375" actId="962"/>
          <ac:spMkLst>
            <pc:docMk/>
            <pc:sldMk cId="3625476780" sldId="383"/>
            <ac:spMk id="165" creationId="{CDCC421B-9E43-46DE-8BF9-F4A9C7866774}"/>
          </ac:spMkLst>
        </pc:spChg>
        <pc:grpChg chg="mod">
          <ac:chgData name="Barbara Schindler" userId="fa289460-f641-4c09-a7ed-c30ef1a3a221" providerId="ADAL" clId="{30FB7D48-16C7-43D3-9A3E-873933065505}" dt="2021-03-15T12:38:26.818" v="375" actId="962"/>
          <ac:grpSpMkLst>
            <pc:docMk/>
            <pc:sldMk cId="3625476780" sldId="383"/>
            <ac:grpSpMk id="50" creationId="{340B1EAC-1745-4584-B42C-B0CBFF79E0AE}"/>
          </ac:grpSpMkLst>
        </pc:grpChg>
        <pc:grpChg chg="mod">
          <ac:chgData name="Barbara Schindler" userId="fa289460-f641-4c09-a7ed-c30ef1a3a221" providerId="ADAL" clId="{30FB7D48-16C7-43D3-9A3E-873933065505}" dt="2021-03-15T12:38:26.818" v="375" actId="962"/>
          <ac:grpSpMkLst>
            <pc:docMk/>
            <pc:sldMk cId="3625476780" sldId="383"/>
            <ac:grpSpMk id="57" creationId="{F53B64E3-C845-441D-976D-0044FE20D321}"/>
          </ac:grpSpMkLst>
        </pc:grpChg>
        <pc:grpChg chg="mod">
          <ac:chgData name="Barbara Schindler" userId="fa289460-f641-4c09-a7ed-c30ef1a3a221" providerId="ADAL" clId="{30FB7D48-16C7-43D3-9A3E-873933065505}" dt="2021-03-15T12:38:26.818" v="375" actId="962"/>
          <ac:grpSpMkLst>
            <pc:docMk/>
            <pc:sldMk cId="3625476780" sldId="383"/>
            <ac:grpSpMk id="63" creationId="{1C17C52C-6143-4CD0-8343-97680B195943}"/>
          </ac:grpSpMkLst>
        </pc:grpChg>
        <pc:grpChg chg="mod">
          <ac:chgData name="Barbara Schindler" userId="fa289460-f641-4c09-a7ed-c30ef1a3a221" providerId="ADAL" clId="{30FB7D48-16C7-43D3-9A3E-873933065505}" dt="2021-03-15T12:38:26.818" v="375" actId="962"/>
          <ac:grpSpMkLst>
            <pc:docMk/>
            <pc:sldMk cId="3625476780" sldId="383"/>
            <ac:grpSpMk id="121" creationId="{C6CEED48-5ABA-43E3-B3C0-A86F28FD7829}"/>
          </ac:grpSpMkLst>
        </pc:grpChg>
        <pc:picChg chg="mod">
          <ac:chgData name="Barbara Schindler" userId="fa289460-f641-4c09-a7ed-c30ef1a3a221" providerId="ADAL" clId="{30FB7D48-16C7-43D3-9A3E-873933065505}" dt="2021-03-15T12:38:26.818" v="375" actId="962"/>
          <ac:picMkLst>
            <pc:docMk/>
            <pc:sldMk cId="3625476780" sldId="383"/>
            <ac:picMk id="52" creationId="{D3C59499-3229-4847-896E-EA8367AD486E}"/>
          </ac:picMkLst>
        </pc:picChg>
      </pc:sldChg>
      <pc:sldChg chg="modSp">
        <pc:chgData name="Barbara Schindler" userId="fa289460-f641-4c09-a7ed-c30ef1a3a221" providerId="ADAL" clId="{30FB7D48-16C7-43D3-9A3E-873933065505}" dt="2021-03-15T12:39:39.619" v="595" actId="962"/>
        <pc:sldMkLst>
          <pc:docMk/>
          <pc:sldMk cId="1779190331" sldId="398"/>
        </pc:sldMkLst>
        <pc:spChg chg="mod">
          <ac:chgData name="Barbara Schindler" userId="fa289460-f641-4c09-a7ed-c30ef1a3a221" providerId="ADAL" clId="{30FB7D48-16C7-43D3-9A3E-873933065505}" dt="2021-03-15T12:39:39.619" v="595" actId="962"/>
          <ac:spMkLst>
            <pc:docMk/>
            <pc:sldMk cId="1779190331" sldId="398"/>
            <ac:spMk id="3" creationId="{B0BC43F3-F86F-49E1-BA1D-7DCA6C084CAD}"/>
          </ac:spMkLst>
        </pc:spChg>
        <pc:spChg chg="mod">
          <ac:chgData name="Barbara Schindler" userId="fa289460-f641-4c09-a7ed-c30ef1a3a221" providerId="ADAL" clId="{30FB7D48-16C7-43D3-9A3E-873933065505}" dt="2021-03-15T12:39:39.619" v="595" actId="962"/>
          <ac:spMkLst>
            <pc:docMk/>
            <pc:sldMk cId="1779190331" sldId="398"/>
            <ac:spMk id="33" creationId="{6AFD2EF8-BBFC-42AC-88B8-CC91366BA491}"/>
          </ac:spMkLst>
        </pc:spChg>
        <pc:grpChg chg="mod">
          <ac:chgData name="Barbara Schindler" userId="fa289460-f641-4c09-a7ed-c30ef1a3a221" providerId="ADAL" clId="{30FB7D48-16C7-43D3-9A3E-873933065505}" dt="2021-03-15T12:39:39.619" v="595" actId="962"/>
          <ac:grpSpMkLst>
            <pc:docMk/>
            <pc:sldMk cId="1779190331" sldId="398"/>
            <ac:grpSpMk id="5" creationId="{4CA8B50A-A7D0-4AC6-AE80-E1EEA85021B1}"/>
          </ac:grpSpMkLst>
        </pc:grpChg>
        <pc:picChg chg="mod">
          <ac:chgData name="Barbara Schindler" userId="fa289460-f641-4c09-a7ed-c30ef1a3a221" providerId="ADAL" clId="{30FB7D48-16C7-43D3-9A3E-873933065505}" dt="2021-03-15T12:39:39.619" v="595" actId="962"/>
          <ac:picMkLst>
            <pc:docMk/>
            <pc:sldMk cId="1779190331" sldId="398"/>
            <ac:picMk id="6" creationId="{00000000-0000-0000-0000-000000000000}"/>
          </ac:picMkLst>
        </pc:picChg>
      </pc:sldChg>
      <pc:sldChg chg="modSp">
        <pc:chgData name="Barbara Schindler" userId="fa289460-f641-4c09-a7ed-c30ef1a3a221" providerId="ADAL" clId="{30FB7D48-16C7-43D3-9A3E-873933065505}" dt="2021-03-15T12:39:24.044" v="531" actId="962"/>
        <pc:sldMkLst>
          <pc:docMk/>
          <pc:sldMk cId="3562151996" sldId="399"/>
        </pc:sldMkLst>
        <pc:spChg chg="mod">
          <ac:chgData name="Barbara Schindler" userId="fa289460-f641-4c09-a7ed-c30ef1a3a221" providerId="ADAL" clId="{30FB7D48-16C7-43D3-9A3E-873933065505}" dt="2021-03-15T12:39:24.044" v="531" actId="962"/>
          <ac:spMkLst>
            <pc:docMk/>
            <pc:sldMk cId="3562151996" sldId="399"/>
            <ac:spMk id="31" creationId="{6045FF20-4700-4179-B79C-73C34204A07A}"/>
          </ac:spMkLst>
        </pc:spChg>
        <pc:spChg chg="mod">
          <ac:chgData name="Barbara Schindler" userId="fa289460-f641-4c09-a7ed-c30ef1a3a221" providerId="ADAL" clId="{30FB7D48-16C7-43D3-9A3E-873933065505}" dt="2021-03-15T12:39:24.044" v="531" actId="962"/>
          <ac:spMkLst>
            <pc:docMk/>
            <pc:sldMk cId="3562151996" sldId="399"/>
            <ac:spMk id="33" creationId="{95849BDC-37A3-4D28-B63F-755182D87F72}"/>
          </ac:spMkLst>
        </pc:spChg>
        <pc:spChg chg="mod">
          <ac:chgData name="Barbara Schindler" userId="fa289460-f641-4c09-a7ed-c30ef1a3a221" providerId="ADAL" clId="{30FB7D48-16C7-43D3-9A3E-873933065505}" dt="2021-03-15T12:39:24.044" v="531" actId="962"/>
          <ac:spMkLst>
            <pc:docMk/>
            <pc:sldMk cId="3562151996" sldId="399"/>
            <ac:spMk id="35" creationId="{25BCAA2C-77D6-481D-8D51-75F3CF51EAB0}"/>
          </ac:spMkLst>
        </pc:spChg>
        <pc:grpChg chg="mod">
          <ac:chgData name="Barbara Schindler" userId="fa289460-f641-4c09-a7ed-c30ef1a3a221" providerId="ADAL" clId="{30FB7D48-16C7-43D3-9A3E-873933065505}" dt="2021-03-15T12:39:24.044" v="531" actId="962"/>
          <ac:grpSpMkLst>
            <pc:docMk/>
            <pc:sldMk cId="3562151996" sldId="399"/>
            <ac:grpSpMk id="32" creationId="{995C078C-3667-4B6E-ADD4-9C353F40725A}"/>
          </ac:grpSpMkLst>
        </pc:grpChg>
        <pc:picChg chg="mod">
          <ac:chgData name="Barbara Schindler" userId="fa289460-f641-4c09-a7ed-c30ef1a3a221" providerId="ADAL" clId="{30FB7D48-16C7-43D3-9A3E-873933065505}" dt="2021-03-15T12:39:24.044" v="531" actId="962"/>
          <ac:picMkLst>
            <pc:docMk/>
            <pc:sldMk cId="3562151996" sldId="399"/>
            <ac:picMk id="30" creationId="{00000000-0000-0000-0000-000000000000}"/>
          </ac:picMkLst>
        </pc:picChg>
      </pc:sldChg>
      <pc:sldChg chg="modSp">
        <pc:chgData name="Barbara Schindler" userId="fa289460-f641-4c09-a7ed-c30ef1a3a221" providerId="ADAL" clId="{30FB7D48-16C7-43D3-9A3E-873933065505}" dt="2021-03-15T12:39:17.533" v="517" actId="962"/>
        <pc:sldMkLst>
          <pc:docMk/>
          <pc:sldMk cId="3006240013" sldId="403"/>
        </pc:sldMkLst>
        <pc:spChg chg="mod">
          <ac:chgData name="Barbara Schindler" userId="fa289460-f641-4c09-a7ed-c30ef1a3a221" providerId="ADAL" clId="{30FB7D48-16C7-43D3-9A3E-873933065505}" dt="2021-03-15T12:39:17.533" v="517" actId="962"/>
          <ac:spMkLst>
            <pc:docMk/>
            <pc:sldMk cId="3006240013" sldId="403"/>
            <ac:spMk id="2" creationId="{1CDE11F0-9560-41D8-BCCA-4600A5D05669}"/>
          </ac:spMkLst>
        </pc:spChg>
        <pc:spChg chg="mod">
          <ac:chgData name="Barbara Schindler" userId="fa289460-f641-4c09-a7ed-c30ef1a3a221" providerId="ADAL" clId="{30FB7D48-16C7-43D3-9A3E-873933065505}" dt="2021-03-15T12:39:17.533" v="517" actId="962"/>
          <ac:spMkLst>
            <pc:docMk/>
            <pc:sldMk cId="3006240013" sldId="403"/>
            <ac:spMk id="3" creationId="{00325EC7-BFC7-4AEF-94F3-0FFA84F46E86}"/>
          </ac:spMkLst>
        </pc:spChg>
        <pc:spChg chg="mod">
          <ac:chgData name="Barbara Schindler" userId="fa289460-f641-4c09-a7ed-c30ef1a3a221" providerId="ADAL" clId="{30FB7D48-16C7-43D3-9A3E-873933065505}" dt="2021-03-15T12:39:17.533" v="517" actId="962"/>
          <ac:spMkLst>
            <pc:docMk/>
            <pc:sldMk cId="3006240013" sldId="403"/>
            <ac:spMk id="4" creationId="{557134D6-C5DF-44C0-8230-43C51A0B3E89}"/>
          </ac:spMkLst>
        </pc:spChg>
        <pc:spChg chg="mod">
          <ac:chgData name="Barbara Schindler" userId="fa289460-f641-4c09-a7ed-c30ef1a3a221" providerId="ADAL" clId="{30FB7D48-16C7-43D3-9A3E-873933065505}" dt="2021-03-15T12:39:17.533" v="517" actId="962"/>
          <ac:spMkLst>
            <pc:docMk/>
            <pc:sldMk cId="3006240013" sldId="403"/>
            <ac:spMk id="36" creationId="{157E946D-6C71-49E4-AD69-DD659A4DF19C}"/>
          </ac:spMkLst>
        </pc:spChg>
        <pc:spChg chg="mod">
          <ac:chgData name="Barbara Schindler" userId="fa289460-f641-4c09-a7ed-c30ef1a3a221" providerId="ADAL" clId="{30FB7D48-16C7-43D3-9A3E-873933065505}" dt="2021-03-15T12:39:17.533" v="517" actId="962"/>
          <ac:spMkLst>
            <pc:docMk/>
            <pc:sldMk cId="3006240013" sldId="403"/>
            <ac:spMk id="37" creationId="{1A63D36B-7C49-4ABB-8EC5-D5E29EC98C64}"/>
          </ac:spMkLst>
        </pc:spChg>
        <pc:spChg chg="mod">
          <ac:chgData name="Barbara Schindler" userId="fa289460-f641-4c09-a7ed-c30ef1a3a221" providerId="ADAL" clId="{30FB7D48-16C7-43D3-9A3E-873933065505}" dt="2021-03-15T12:39:17.533" v="517" actId="962"/>
          <ac:spMkLst>
            <pc:docMk/>
            <pc:sldMk cId="3006240013" sldId="403"/>
            <ac:spMk id="39" creationId="{79FA7FA8-DBD1-4578-94AB-C15B6C4E79F8}"/>
          </ac:spMkLst>
        </pc:spChg>
        <pc:grpChg chg="mod">
          <ac:chgData name="Barbara Schindler" userId="fa289460-f641-4c09-a7ed-c30ef1a3a221" providerId="ADAL" clId="{30FB7D48-16C7-43D3-9A3E-873933065505}" dt="2021-03-15T12:39:17.533" v="517" actId="962"/>
          <ac:grpSpMkLst>
            <pc:docMk/>
            <pc:sldMk cId="3006240013" sldId="403"/>
            <ac:grpSpMk id="40" creationId="{9CEEFF53-1C30-4D1D-ACD2-129C22427F9F}"/>
          </ac:grpSpMkLst>
        </pc:grpChg>
        <pc:picChg chg="mod">
          <ac:chgData name="Barbara Schindler" userId="fa289460-f641-4c09-a7ed-c30ef1a3a221" providerId="ADAL" clId="{30FB7D48-16C7-43D3-9A3E-873933065505}" dt="2021-03-15T12:39:17.533" v="517" actId="962"/>
          <ac:picMkLst>
            <pc:docMk/>
            <pc:sldMk cId="3006240013" sldId="403"/>
            <ac:picMk id="10" creationId="{2C53433A-776B-49C6-A2AF-7DDC04BD98E7}"/>
          </ac:picMkLst>
        </pc:picChg>
      </pc:sldChg>
      <pc:sldChg chg="modSp mod">
        <pc:chgData name="Barbara Schindler" userId="fa289460-f641-4c09-a7ed-c30ef1a3a221" providerId="ADAL" clId="{30FB7D48-16C7-43D3-9A3E-873933065505}" dt="2021-03-15T12:39:06.584" v="483" actId="962"/>
        <pc:sldMkLst>
          <pc:docMk/>
          <pc:sldMk cId="30033099" sldId="435"/>
        </pc:sldMkLst>
        <pc:spChg chg="mod">
          <ac:chgData name="Barbara Schindler" userId="fa289460-f641-4c09-a7ed-c30ef1a3a221" providerId="ADAL" clId="{30FB7D48-16C7-43D3-9A3E-873933065505}" dt="2021-03-15T12:39:06.584" v="483" actId="962"/>
          <ac:spMkLst>
            <pc:docMk/>
            <pc:sldMk cId="30033099" sldId="435"/>
            <ac:spMk id="3" creationId="{31EFF6D5-C113-4ACE-AB99-1629C7504B4D}"/>
          </ac:spMkLst>
        </pc:spChg>
        <pc:spChg chg="mod">
          <ac:chgData name="Barbara Schindler" userId="fa289460-f641-4c09-a7ed-c30ef1a3a221" providerId="ADAL" clId="{30FB7D48-16C7-43D3-9A3E-873933065505}" dt="2021-03-15T12:39:06.584" v="483" actId="962"/>
          <ac:spMkLst>
            <pc:docMk/>
            <pc:sldMk cId="30033099" sldId="435"/>
            <ac:spMk id="4" creationId="{DDE170F3-801B-427D-93AD-668C696C703F}"/>
          </ac:spMkLst>
        </pc:spChg>
        <pc:spChg chg="mod">
          <ac:chgData name="Barbara Schindler" userId="fa289460-f641-4c09-a7ed-c30ef1a3a221" providerId="ADAL" clId="{30FB7D48-16C7-43D3-9A3E-873933065505}" dt="2021-03-15T12:39:06.584" v="483" actId="962"/>
          <ac:spMkLst>
            <pc:docMk/>
            <pc:sldMk cId="30033099" sldId="435"/>
            <ac:spMk id="5" creationId="{78443951-453B-4D9C-AA92-594F332DCBA5}"/>
          </ac:spMkLst>
        </pc:spChg>
        <pc:spChg chg="mod">
          <ac:chgData name="Barbara Schindler" userId="fa289460-f641-4c09-a7ed-c30ef1a3a221" providerId="ADAL" clId="{30FB7D48-16C7-43D3-9A3E-873933065505}" dt="2021-03-15T12:39:06.584" v="483" actId="962"/>
          <ac:spMkLst>
            <pc:docMk/>
            <pc:sldMk cId="30033099" sldId="435"/>
            <ac:spMk id="19" creationId="{8411FE57-1963-4217-A0D3-338C754204AF}"/>
          </ac:spMkLst>
        </pc:spChg>
        <pc:spChg chg="mod">
          <ac:chgData name="Barbara Schindler" userId="fa289460-f641-4c09-a7ed-c30ef1a3a221" providerId="ADAL" clId="{30FB7D48-16C7-43D3-9A3E-873933065505}" dt="2021-03-15T12:39:06.584" v="483" actId="962"/>
          <ac:spMkLst>
            <pc:docMk/>
            <pc:sldMk cId="30033099" sldId="435"/>
            <ac:spMk id="20" creationId="{DE97B68E-C809-491C-91EE-187FBD1005E7}"/>
          </ac:spMkLst>
        </pc:spChg>
        <pc:spChg chg="mod">
          <ac:chgData name="Barbara Schindler" userId="fa289460-f641-4c09-a7ed-c30ef1a3a221" providerId="ADAL" clId="{30FB7D48-16C7-43D3-9A3E-873933065505}" dt="2021-03-15T12:39:06.584" v="483" actId="962"/>
          <ac:spMkLst>
            <pc:docMk/>
            <pc:sldMk cId="30033099" sldId="435"/>
            <ac:spMk id="21" creationId="{475F8785-AD86-4504-9BB5-3856D4AFF549}"/>
          </ac:spMkLst>
        </pc:spChg>
        <pc:picChg chg="mod">
          <ac:chgData name="Barbara Schindler" userId="fa289460-f641-4c09-a7ed-c30ef1a3a221" providerId="ADAL" clId="{30FB7D48-16C7-43D3-9A3E-873933065505}" dt="2021-03-15T12:39:06.584" v="483" actId="962"/>
          <ac:picMkLst>
            <pc:docMk/>
            <pc:sldMk cId="30033099" sldId="435"/>
            <ac:picMk id="8" creationId="{2D0A1F38-9ECF-4422-BD9E-A343B3228ECB}"/>
          </ac:picMkLst>
        </pc:picChg>
      </pc:sldChg>
      <pc:sldChg chg="modSp">
        <pc:chgData name="Barbara Schindler" userId="fa289460-f641-4c09-a7ed-c30ef1a3a221" providerId="ADAL" clId="{30FB7D48-16C7-43D3-9A3E-873933065505}" dt="2021-03-15T12:38:10.784" v="319" actId="962"/>
        <pc:sldMkLst>
          <pc:docMk/>
          <pc:sldMk cId="3387126845" sldId="438"/>
        </pc:sldMkLst>
        <pc:spChg chg="mod">
          <ac:chgData name="Barbara Schindler" userId="fa289460-f641-4c09-a7ed-c30ef1a3a221" providerId="ADAL" clId="{30FB7D48-16C7-43D3-9A3E-873933065505}" dt="2021-03-15T12:38:10.784" v="319" actId="962"/>
          <ac:spMkLst>
            <pc:docMk/>
            <pc:sldMk cId="3387126845" sldId="438"/>
            <ac:spMk id="35" creationId="{0FDB735F-7E5F-4B9C-8B8A-B0A8FE182742}"/>
          </ac:spMkLst>
        </pc:spChg>
        <pc:grpChg chg="mod">
          <ac:chgData name="Barbara Schindler" userId="fa289460-f641-4c09-a7ed-c30ef1a3a221" providerId="ADAL" clId="{30FB7D48-16C7-43D3-9A3E-873933065505}" dt="2021-03-15T12:38:10.784" v="319" actId="962"/>
          <ac:grpSpMkLst>
            <pc:docMk/>
            <pc:sldMk cId="3387126845" sldId="438"/>
            <ac:grpSpMk id="10" creationId="{CAA4CF57-4179-42EE-A46D-BB6AC6AAC7A5}"/>
          </ac:grpSpMkLst>
        </pc:grpChg>
        <pc:picChg chg="mod">
          <ac:chgData name="Barbara Schindler" userId="fa289460-f641-4c09-a7ed-c30ef1a3a221" providerId="ADAL" clId="{30FB7D48-16C7-43D3-9A3E-873933065505}" dt="2021-03-15T12:38:10.784" v="319" actId="962"/>
          <ac:picMkLst>
            <pc:docMk/>
            <pc:sldMk cId="3387126845" sldId="438"/>
            <ac:picMk id="6" creationId="{7C4E7F97-6236-415B-A3B3-246FE008037F}"/>
          </ac:picMkLst>
        </pc:picChg>
      </pc:sldChg>
      <pc:sldChg chg="modSp">
        <pc:chgData name="Barbara Schindler" userId="fa289460-f641-4c09-a7ed-c30ef1a3a221" providerId="ADAL" clId="{30FB7D48-16C7-43D3-9A3E-873933065505}" dt="2021-03-15T12:39:30.901" v="555" actId="962"/>
        <pc:sldMkLst>
          <pc:docMk/>
          <pc:sldMk cId="1962186436" sldId="450"/>
        </pc:sldMkLst>
        <pc:spChg chg="mod">
          <ac:chgData name="Barbara Schindler" userId="fa289460-f641-4c09-a7ed-c30ef1a3a221" providerId="ADAL" clId="{30FB7D48-16C7-43D3-9A3E-873933065505}" dt="2021-03-15T12:39:30.901" v="555" actId="962"/>
          <ac:spMkLst>
            <pc:docMk/>
            <pc:sldMk cId="1962186436" sldId="450"/>
            <ac:spMk id="33" creationId="{6AFD2EF8-BBFC-42AC-88B8-CC91366BA491}"/>
          </ac:spMkLst>
        </pc:spChg>
        <pc:spChg chg="mod">
          <ac:chgData name="Barbara Schindler" userId="fa289460-f641-4c09-a7ed-c30ef1a3a221" providerId="ADAL" clId="{30FB7D48-16C7-43D3-9A3E-873933065505}" dt="2021-03-15T12:39:30.901" v="555" actId="962"/>
          <ac:spMkLst>
            <pc:docMk/>
            <pc:sldMk cId="1962186436" sldId="450"/>
            <ac:spMk id="34" creationId="{8016B049-0B41-418B-AC05-13D0519AED5B}"/>
          </ac:spMkLst>
        </pc:spChg>
        <pc:spChg chg="mod">
          <ac:chgData name="Barbara Schindler" userId="fa289460-f641-4c09-a7ed-c30ef1a3a221" providerId="ADAL" clId="{30FB7D48-16C7-43D3-9A3E-873933065505}" dt="2021-03-15T12:39:30.901" v="555" actId="962"/>
          <ac:spMkLst>
            <pc:docMk/>
            <pc:sldMk cId="1962186436" sldId="450"/>
            <ac:spMk id="35" creationId="{C6295FC2-AFA0-44AA-AE69-724DAD7F81E8}"/>
          </ac:spMkLst>
        </pc:spChg>
        <pc:grpChg chg="mod">
          <ac:chgData name="Barbara Schindler" userId="fa289460-f641-4c09-a7ed-c30ef1a3a221" providerId="ADAL" clId="{30FB7D48-16C7-43D3-9A3E-873933065505}" dt="2021-03-15T12:39:30.901" v="555" actId="962"/>
          <ac:grpSpMkLst>
            <pc:docMk/>
            <pc:sldMk cId="1962186436" sldId="450"/>
            <ac:grpSpMk id="5" creationId="{4CA8B50A-A7D0-4AC6-AE80-E1EEA85021B1}"/>
          </ac:grpSpMkLst>
        </pc:grpChg>
        <pc:picChg chg="mod">
          <ac:chgData name="Barbara Schindler" userId="fa289460-f641-4c09-a7ed-c30ef1a3a221" providerId="ADAL" clId="{30FB7D48-16C7-43D3-9A3E-873933065505}" dt="2021-03-15T12:39:30.901" v="555" actId="962"/>
          <ac:picMkLst>
            <pc:docMk/>
            <pc:sldMk cId="1962186436" sldId="450"/>
            <ac:picMk id="32" creationId="{364EECCA-F5E2-40C8-9B9E-6D7E8769B756}"/>
          </ac:picMkLst>
        </pc:picChg>
      </pc:sldChg>
      <pc:sldChg chg="modSp">
        <pc:chgData name="Barbara Schindler" userId="fa289460-f641-4c09-a7ed-c30ef1a3a221" providerId="ADAL" clId="{30FB7D48-16C7-43D3-9A3E-873933065505}" dt="2021-03-15T12:39:12.150" v="503" actId="962"/>
        <pc:sldMkLst>
          <pc:docMk/>
          <pc:sldMk cId="4236117547" sldId="453"/>
        </pc:sldMkLst>
        <pc:spChg chg="mod">
          <ac:chgData name="Barbara Schindler" userId="fa289460-f641-4c09-a7ed-c30ef1a3a221" providerId="ADAL" clId="{30FB7D48-16C7-43D3-9A3E-873933065505}" dt="2021-03-15T12:39:12.150" v="503" actId="962"/>
          <ac:spMkLst>
            <pc:docMk/>
            <pc:sldMk cId="4236117547" sldId="453"/>
            <ac:spMk id="4" creationId="{992726EB-0FFB-486F-A8D8-61F71B8BD2C0}"/>
          </ac:spMkLst>
        </pc:spChg>
        <pc:spChg chg="mod">
          <ac:chgData name="Barbara Schindler" userId="fa289460-f641-4c09-a7ed-c30ef1a3a221" providerId="ADAL" clId="{30FB7D48-16C7-43D3-9A3E-873933065505}" dt="2021-03-15T12:39:12.150" v="503" actId="962"/>
          <ac:spMkLst>
            <pc:docMk/>
            <pc:sldMk cId="4236117547" sldId="453"/>
            <ac:spMk id="77" creationId="{C50AD049-1483-4B65-8D32-CB254B47CBC1}"/>
          </ac:spMkLst>
        </pc:spChg>
        <pc:spChg chg="mod">
          <ac:chgData name="Barbara Schindler" userId="fa289460-f641-4c09-a7ed-c30ef1a3a221" providerId="ADAL" clId="{30FB7D48-16C7-43D3-9A3E-873933065505}" dt="2021-03-15T12:39:12.150" v="503" actId="962"/>
          <ac:spMkLst>
            <pc:docMk/>
            <pc:sldMk cId="4236117547" sldId="453"/>
            <ac:spMk id="184" creationId="{AFB3CE86-7C69-4BB8-A4E0-8F12441DA4FA}"/>
          </ac:spMkLst>
        </pc:spChg>
        <pc:spChg chg="mod">
          <ac:chgData name="Barbara Schindler" userId="fa289460-f641-4c09-a7ed-c30ef1a3a221" providerId="ADAL" clId="{30FB7D48-16C7-43D3-9A3E-873933065505}" dt="2021-03-15T12:39:12.150" v="503" actId="962"/>
          <ac:spMkLst>
            <pc:docMk/>
            <pc:sldMk cId="4236117547" sldId="453"/>
            <ac:spMk id="186" creationId="{0B2F1BAD-2297-4428-84C8-83B42A01F147}"/>
          </ac:spMkLst>
        </pc:spChg>
        <pc:spChg chg="mod">
          <ac:chgData name="Barbara Schindler" userId="fa289460-f641-4c09-a7ed-c30ef1a3a221" providerId="ADAL" clId="{30FB7D48-16C7-43D3-9A3E-873933065505}" dt="2021-03-15T12:39:12.150" v="503" actId="962"/>
          <ac:spMkLst>
            <pc:docMk/>
            <pc:sldMk cId="4236117547" sldId="453"/>
            <ac:spMk id="213" creationId="{DD4C1CCC-FB45-4835-A89D-231DB377BD8E}"/>
          </ac:spMkLst>
        </pc:spChg>
        <pc:spChg chg="mod">
          <ac:chgData name="Barbara Schindler" userId="fa289460-f641-4c09-a7ed-c30ef1a3a221" providerId="ADAL" clId="{30FB7D48-16C7-43D3-9A3E-873933065505}" dt="2021-03-15T12:39:12.150" v="503" actId="962"/>
          <ac:spMkLst>
            <pc:docMk/>
            <pc:sldMk cId="4236117547" sldId="453"/>
            <ac:spMk id="229" creationId="{0DBB4160-5CC8-4EDF-BBCA-956395D7C0EF}"/>
          </ac:spMkLst>
        </pc:spChg>
        <pc:spChg chg="mod">
          <ac:chgData name="Barbara Schindler" userId="fa289460-f641-4c09-a7ed-c30ef1a3a221" providerId="ADAL" clId="{30FB7D48-16C7-43D3-9A3E-873933065505}" dt="2021-03-15T12:39:12.150" v="503" actId="962"/>
          <ac:spMkLst>
            <pc:docMk/>
            <pc:sldMk cId="4236117547" sldId="453"/>
            <ac:spMk id="249" creationId="{DD4A9D1B-0699-498F-B90C-6F8B1A57589B}"/>
          </ac:spMkLst>
        </pc:spChg>
        <pc:spChg chg="mod">
          <ac:chgData name="Barbara Schindler" userId="fa289460-f641-4c09-a7ed-c30ef1a3a221" providerId="ADAL" clId="{30FB7D48-16C7-43D3-9A3E-873933065505}" dt="2021-03-15T12:39:12.150" v="503" actId="962"/>
          <ac:spMkLst>
            <pc:docMk/>
            <pc:sldMk cId="4236117547" sldId="453"/>
            <ac:spMk id="259" creationId="{864F6E69-DE06-4646-A16A-F14DE0FA3BDE}"/>
          </ac:spMkLst>
        </pc:spChg>
        <pc:grpChg chg="mod">
          <ac:chgData name="Barbara Schindler" userId="fa289460-f641-4c09-a7ed-c30ef1a3a221" providerId="ADAL" clId="{30FB7D48-16C7-43D3-9A3E-873933065505}" dt="2021-03-15T12:39:12.150" v="503" actId="962"/>
          <ac:grpSpMkLst>
            <pc:docMk/>
            <pc:sldMk cId="4236117547" sldId="453"/>
            <ac:grpSpMk id="2" creationId="{99E866CC-433A-4B0C-A97D-44939040209F}"/>
          </ac:grpSpMkLst>
        </pc:grpChg>
        <pc:grpChg chg="mod">
          <ac:chgData name="Barbara Schindler" userId="fa289460-f641-4c09-a7ed-c30ef1a3a221" providerId="ADAL" clId="{30FB7D48-16C7-43D3-9A3E-873933065505}" dt="2021-03-15T12:39:12.150" v="503" actId="962"/>
          <ac:grpSpMkLst>
            <pc:docMk/>
            <pc:sldMk cId="4236117547" sldId="453"/>
            <ac:grpSpMk id="3" creationId="{BCA8F467-5A7F-41B2-8F13-509DAA2CE4DC}"/>
          </ac:grpSpMkLst>
        </pc:grpChg>
        <pc:grpChg chg="mod">
          <ac:chgData name="Barbara Schindler" userId="fa289460-f641-4c09-a7ed-c30ef1a3a221" providerId="ADAL" clId="{30FB7D48-16C7-43D3-9A3E-873933065505}" dt="2021-03-15T12:39:12.150" v="503" actId="962"/>
          <ac:grpSpMkLst>
            <pc:docMk/>
            <pc:sldMk cId="4236117547" sldId="453"/>
            <ac:grpSpMk id="5" creationId="{F5EE4FC1-E98E-4F8C-868B-6FE2DE4C518E}"/>
          </ac:grpSpMkLst>
        </pc:grpChg>
        <pc:grpChg chg="mod">
          <ac:chgData name="Barbara Schindler" userId="fa289460-f641-4c09-a7ed-c30ef1a3a221" providerId="ADAL" clId="{30FB7D48-16C7-43D3-9A3E-873933065505}" dt="2021-03-15T12:39:12.150" v="503" actId="962"/>
          <ac:grpSpMkLst>
            <pc:docMk/>
            <pc:sldMk cId="4236117547" sldId="453"/>
            <ac:grpSpMk id="104" creationId="{10429925-4339-4D5F-9A01-3C572C70B5D1}"/>
          </ac:grpSpMkLst>
        </pc:grpChg>
        <pc:grpChg chg="mod">
          <ac:chgData name="Barbara Schindler" userId="fa289460-f641-4c09-a7ed-c30ef1a3a221" providerId="ADAL" clId="{30FB7D48-16C7-43D3-9A3E-873933065505}" dt="2021-03-15T12:39:12.150" v="503" actId="962"/>
          <ac:grpSpMkLst>
            <pc:docMk/>
            <pc:sldMk cId="4236117547" sldId="453"/>
            <ac:grpSpMk id="122" creationId="{29C820A1-948C-4EA1-9AD4-7729569C8EA4}"/>
          </ac:grpSpMkLst>
        </pc:grpChg>
      </pc:sldChg>
      <pc:sldChg chg="modSp">
        <pc:chgData name="Barbara Schindler" userId="fa289460-f641-4c09-a7ed-c30ef1a3a221" providerId="ADAL" clId="{30FB7D48-16C7-43D3-9A3E-873933065505}" dt="2021-03-15T12:38:33.599" v="389" actId="962"/>
        <pc:sldMkLst>
          <pc:docMk/>
          <pc:sldMk cId="2793991352" sldId="458"/>
        </pc:sldMkLst>
        <pc:spChg chg="mod">
          <ac:chgData name="Barbara Schindler" userId="fa289460-f641-4c09-a7ed-c30ef1a3a221" providerId="ADAL" clId="{30FB7D48-16C7-43D3-9A3E-873933065505}" dt="2021-03-15T12:38:33.599" v="389" actId="962"/>
          <ac:spMkLst>
            <pc:docMk/>
            <pc:sldMk cId="2793991352" sldId="458"/>
            <ac:spMk id="3" creationId="{00000000-0000-0000-0000-000000000000}"/>
          </ac:spMkLst>
        </pc:spChg>
        <pc:spChg chg="mod">
          <ac:chgData name="Barbara Schindler" userId="fa289460-f641-4c09-a7ed-c30ef1a3a221" providerId="ADAL" clId="{30FB7D48-16C7-43D3-9A3E-873933065505}" dt="2021-03-15T12:38:33.599" v="389" actId="962"/>
          <ac:spMkLst>
            <pc:docMk/>
            <pc:sldMk cId="2793991352" sldId="458"/>
            <ac:spMk id="4" creationId="{00000000-0000-0000-0000-000000000000}"/>
          </ac:spMkLst>
        </pc:spChg>
        <pc:spChg chg="mod">
          <ac:chgData name="Barbara Schindler" userId="fa289460-f641-4c09-a7ed-c30ef1a3a221" providerId="ADAL" clId="{30FB7D48-16C7-43D3-9A3E-873933065505}" dt="2021-03-15T12:38:33.599" v="389" actId="962"/>
          <ac:spMkLst>
            <pc:docMk/>
            <pc:sldMk cId="2793991352" sldId="458"/>
            <ac:spMk id="5" creationId="{00000000-0000-0000-0000-000000000000}"/>
          </ac:spMkLst>
        </pc:spChg>
        <pc:spChg chg="mod">
          <ac:chgData name="Barbara Schindler" userId="fa289460-f641-4c09-a7ed-c30ef1a3a221" providerId="ADAL" clId="{30FB7D48-16C7-43D3-9A3E-873933065505}" dt="2021-03-15T12:38:33.599" v="389" actId="962"/>
          <ac:spMkLst>
            <pc:docMk/>
            <pc:sldMk cId="2793991352" sldId="458"/>
            <ac:spMk id="43" creationId="{14AFB4B5-8194-492D-9A2B-FDF40C7DB3D5}"/>
          </ac:spMkLst>
        </pc:spChg>
        <pc:spChg chg="mod">
          <ac:chgData name="Barbara Schindler" userId="fa289460-f641-4c09-a7ed-c30ef1a3a221" providerId="ADAL" clId="{30FB7D48-16C7-43D3-9A3E-873933065505}" dt="2021-03-15T12:38:33.599" v="389" actId="962"/>
          <ac:spMkLst>
            <pc:docMk/>
            <pc:sldMk cId="2793991352" sldId="458"/>
            <ac:spMk id="44" creationId="{BBEDC77E-32E7-497A-B2CB-B52628857659}"/>
          </ac:spMkLst>
        </pc:spChg>
        <pc:spChg chg="mod">
          <ac:chgData name="Barbara Schindler" userId="fa289460-f641-4c09-a7ed-c30ef1a3a221" providerId="ADAL" clId="{30FB7D48-16C7-43D3-9A3E-873933065505}" dt="2021-03-15T12:38:33.599" v="389" actId="962"/>
          <ac:spMkLst>
            <pc:docMk/>
            <pc:sldMk cId="2793991352" sldId="458"/>
            <ac:spMk id="45" creationId="{CF936121-0746-4A2C-A320-D7674B103412}"/>
          </ac:spMkLst>
        </pc:spChg>
        <pc:spChg chg="mod">
          <ac:chgData name="Barbara Schindler" userId="fa289460-f641-4c09-a7ed-c30ef1a3a221" providerId="ADAL" clId="{30FB7D48-16C7-43D3-9A3E-873933065505}" dt="2021-03-15T12:38:33.599" v="389" actId="962"/>
          <ac:spMkLst>
            <pc:docMk/>
            <pc:sldMk cId="2793991352" sldId="458"/>
            <ac:spMk id="62" creationId="{B740057C-7598-44BA-A255-E4D7D578057A}"/>
          </ac:spMkLst>
        </pc:spChg>
        <pc:grpChg chg="mod">
          <ac:chgData name="Barbara Schindler" userId="fa289460-f641-4c09-a7ed-c30ef1a3a221" providerId="ADAL" clId="{30FB7D48-16C7-43D3-9A3E-873933065505}" dt="2021-03-15T12:38:33.599" v="389" actId="962"/>
          <ac:grpSpMkLst>
            <pc:docMk/>
            <pc:sldMk cId="2793991352" sldId="458"/>
            <ac:grpSpMk id="53" creationId="{A5564F4A-17EB-4C00-946F-CB96C2A73D62}"/>
          </ac:grpSpMkLst>
        </pc:grpChg>
        <pc:grpChg chg="mod">
          <ac:chgData name="Barbara Schindler" userId="fa289460-f641-4c09-a7ed-c30ef1a3a221" providerId="ADAL" clId="{30FB7D48-16C7-43D3-9A3E-873933065505}" dt="2021-03-15T12:38:33.599" v="389" actId="962"/>
          <ac:grpSpMkLst>
            <pc:docMk/>
            <pc:sldMk cId="2793991352" sldId="458"/>
            <ac:grpSpMk id="56" creationId="{D7DCFAD7-D818-4701-8D9C-1CCA3E1B37FF}"/>
          </ac:grpSpMkLst>
        </pc:grpChg>
        <pc:grpChg chg="mod">
          <ac:chgData name="Barbara Schindler" userId="fa289460-f641-4c09-a7ed-c30ef1a3a221" providerId="ADAL" clId="{30FB7D48-16C7-43D3-9A3E-873933065505}" dt="2021-03-15T12:38:33.599" v="389" actId="962"/>
          <ac:grpSpMkLst>
            <pc:docMk/>
            <pc:sldMk cId="2793991352" sldId="458"/>
            <ac:grpSpMk id="59" creationId="{A0B8D9D0-F846-4D9B-B32E-8F0E99F632E4}"/>
          </ac:grpSpMkLst>
        </pc:grpChg>
        <pc:grpChg chg="mod">
          <ac:chgData name="Barbara Schindler" userId="fa289460-f641-4c09-a7ed-c30ef1a3a221" providerId="ADAL" clId="{30FB7D48-16C7-43D3-9A3E-873933065505}" dt="2021-03-15T12:38:33.599" v="389" actId="962"/>
          <ac:grpSpMkLst>
            <pc:docMk/>
            <pc:sldMk cId="2793991352" sldId="458"/>
            <ac:grpSpMk id="121" creationId="{C6CEED48-5ABA-43E3-B3C0-A86F28FD7829}"/>
          </ac:grpSpMkLst>
        </pc:grpChg>
        <pc:picChg chg="mod">
          <ac:chgData name="Barbara Schindler" userId="fa289460-f641-4c09-a7ed-c30ef1a3a221" providerId="ADAL" clId="{30FB7D48-16C7-43D3-9A3E-873933065505}" dt="2021-03-15T12:38:33.599" v="389" actId="962"/>
          <ac:picMkLst>
            <pc:docMk/>
            <pc:sldMk cId="2793991352" sldId="458"/>
            <ac:picMk id="9" creationId="{00000000-0000-0000-0000-000000000000}"/>
          </ac:picMkLst>
        </pc:picChg>
      </pc:sldChg>
      <pc:sldChg chg="modSp">
        <pc:chgData name="Barbara Schindler" userId="fa289460-f641-4c09-a7ed-c30ef1a3a221" providerId="ADAL" clId="{30FB7D48-16C7-43D3-9A3E-873933065505}" dt="2021-03-15T12:38:16.484" v="333" actId="962"/>
        <pc:sldMkLst>
          <pc:docMk/>
          <pc:sldMk cId="1422067149" sldId="459"/>
        </pc:sldMkLst>
        <pc:spChg chg="mod">
          <ac:chgData name="Barbara Schindler" userId="fa289460-f641-4c09-a7ed-c30ef1a3a221" providerId="ADAL" clId="{30FB7D48-16C7-43D3-9A3E-873933065505}" dt="2021-03-15T12:38:16.484" v="333" actId="962"/>
          <ac:spMkLst>
            <pc:docMk/>
            <pc:sldMk cId="1422067149" sldId="459"/>
            <ac:spMk id="2" creationId="{1CDE11F0-9560-41D8-BCCA-4600A5D05669}"/>
          </ac:spMkLst>
        </pc:spChg>
        <pc:spChg chg="mod">
          <ac:chgData name="Barbara Schindler" userId="fa289460-f641-4c09-a7ed-c30ef1a3a221" providerId="ADAL" clId="{30FB7D48-16C7-43D3-9A3E-873933065505}" dt="2021-03-15T12:38:16.484" v="333" actId="962"/>
          <ac:spMkLst>
            <pc:docMk/>
            <pc:sldMk cId="1422067149" sldId="459"/>
            <ac:spMk id="3" creationId="{00325EC7-BFC7-4AEF-94F3-0FFA84F46E86}"/>
          </ac:spMkLst>
        </pc:spChg>
        <pc:spChg chg="mod">
          <ac:chgData name="Barbara Schindler" userId="fa289460-f641-4c09-a7ed-c30ef1a3a221" providerId="ADAL" clId="{30FB7D48-16C7-43D3-9A3E-873933065505}" dt="2021-03-15T12:38:16.484" v="333" actId="962"/>
          <ac:spMkLst>
            <pc:docMk/>
            <pc:sldMk cId="1422067149" sldId="459"/>
            <ac:spMk id="4" creationId="{557134D6-C5DF-44C0-8230-43C51A0B3E89}"/>
          </ac:spMkLst>
        </pc:spChg>
        <pc:spChg chg="mod">
          <ac:chgData name="Barbara Schindler" userId="fa289460-f641-4c09-a7ed-c30ef1a3a221" providerId="ADAL" clId="{30FB7D48-16C7-43D3-9A3E-873933065505}" dt="2021-03-15T12:38:16.484" v="333" actId="962"/>
          <ac:spMkLst>
            <pc:docMk/>
            <pc:sldMk cId="1422067149" sldId="459"/>
            <ac:spMk id="9" creationId="{364FD131-4F0C-49F4-8F1E-3097A72C4A60}"/>
          </ac:spMkLst>
        </pc:spChg>
        <pc:spChg chg="mod">
          <ac:chgData name="Barbara Schindler" userId="fa289460-f641-4c09-a7ed-c30ef1a3a221" providerId="ADAL" clId="{30FB7D48-16C7-43D3-9A3E-873933065505}" dt="2021-03-15T12:38:16.484" v="333" actId="962"/>
          <ac:spMkLst>
            <pc:docMk/>
            <pc:sldMk cId="1422067149" sldId="459"/>
            <ac:spMk id="12" creationId="{00000000-0000-0000-0000-000000000000}"/>
          </ac:spMkLst>
        </pc:spChg>
        <pc:spChg chg="mod">
          <ac:chgData name="Barbara Schindler" userId="fa289460-f641-4c09-a7ed-c30ef1a3a221" providerId="ADAL" clId="{30FB7D48-16C7-43D3-9A3E-873933065505}" dt="2021-03-15T12:38:16.484" v="333" actId="962"/>
          <ac:spMkLst>
            <pc:docMk/>
            <pc:sldMk cId="1422067149" sldId="459"/>
            <ac:spMk id="86" creationId="{223461F2-FC44-4471-804D-3950540B042F}"/>
          </ac:spMkLst>
        </pc:spChg>
        <pc:grpChg chg="mod">
          <ac:chgData name="Barbara Schindler" userId="fa289460-f641-4c09-a7ed-c30ef1a3a221" providerId="ADAL" clId="{30FB7D48-16C7-43D3-9A3E-873933065505}" dt="2021-03-15T12:38:16.484" v="333" actId="962"/>
          <ac:grpSpMkLst>
            <pc:docMk/>
            <pc:sldMk cId="1422067149" sldId="459"/>
            <ac:grpSpMk id="49" creationId="{95AB2432-2A9A-4C5F-9D78-BFFD9DBBFD53}"/>
          </ac:grpSpMkLst>
        </pc:grpChg>
        <pc:grpChg chg="mod">
          <ac:chgData name="Barbara Schindler" userId="fa289460-f641-4c09-a7ed-c30ef1a3a221" providerId="ADAL" clId="{30FB7D48-16C7-43D3-9A3E-873933065505}" dt="2021-03-15T12:38:16.484" v="333" actId="962"/>
          <ac:grpSpMkLst>
            <pc:docMk/>
            <pc:sldMk cId="1422067149" sldId="459"/>
            <ac:grpSpMk id="135" creationId="{82AE4838-7DA2-4855-99BF-BA86FD64220B}"/>
          </ac:grpSpMkLst>
        </pc:grpChg>
        <pc:grpChg chg="mod">
          <ac:chgData name="Barbara Schindler" userId="fa289460-f641-4c09-a7ed-c30ef1a3a221" providerId="ADAL" clId="{30FB7D48-16C7-43D3-9A3E-873933065505}" dt="2021-03-15T12:38:16.484" v="333" actId="962"/>
          <ac:grpSpMkLst>
            <pc:docMk/>
            <pc:sldMk cId="1422067149" sldId="459"/>
            <ac:grpSpMk id="136" creationId="{FE77DAE7-A3C9-443E-BABE-A50029A0E5C5}"/>
          </ac:grpSpMkLst>
        </pc:grpChg>
        <pc:grpChg chg="mod">
          <ac:chgData name="Barbara Schindler" userId="fa289460-f641-4c09-a7ed-c30ef1a3a221" providerId="ADAL" clId="{30FB7D48-16C7-43D3-9A3E-873933065505}" dt="2021-03-15T12:38:16.484" v="333" actId="962"/>
          <ac:grpSpMkLst>
            <pc:docMk/>
            <pc:sldMk cId="1422067149" sldId="459"/>
            <ac:grpSpMk id="137" creationId="{4F741546-AE8F-4F46-AAC5-06E68558D109}"/>
          </ac:grpSpMkLst>
        </pc:grpChg>
        <pc:grpChg chg="mod">
          <ac:chgData name="Barbara Schindler" userId="fa289460-f641-4c09-a7ed-c30ef1a3a221" providerId="ADAL" clId="{30FB7D48-16C7-43D3-9A3E-873933065505}" dt="2021-03-15T12:38:16.484" v="333" actId="962"/>
          <ac:grpSpMkLst>
            <pc:docMk/>
            <pc:sldMk cId="1422067149" sldId="459"/>
            <ac:grpSpMk id="138" creationId="{6E8E918C-57CE-4BAE-96B5-BBBE2914AC51}"/>
          </ac:grpSpMkLst>
        </pc:grpChg>
        <pc:grpChg chg="mod">
          <ac:chgData name="Barbara Schindler" userId="fa289460-f641-4c09-a7ed-c30ef1a3a221" providerId="ADAL" clId="{30FB7D48-16C7-43D3-9A3E-873933065505}" dt="2021-03-15T12:38:16.484" v="333" actId="962"/>
          <ac:grpSpMkLst>
            <pc:docMk/>
            <pc:sldMk cId="1422067149" sldId="459"/>
            <ac:grpSpMk id="139" creationId="{51F20B00-1690-4347-B843-9743C17EE955}"/>
          </ac:grpSpMkLst>
        </pc:grpChg>
        <pc:grpChg chg="mod">
          <ac:chgData name="Barbara Schindler" userId="fa289460-f641-4c09-a7ed-c30ef1a3a221" providerId="ADAL" clId="{30FB7D48-16C7-43D3-9A3E-873933065505}" dt="2021-03-15T12:38:16.484" v="333" actId="962"/>
          <ac:grpSpMkLst>
            <pc:docMk/>
            <pc:sldMk cId="1422067149" sldId="459"/>
            <ac:grpSpMk id="140" creationId="{34863DEE-0418-4B93-979B-8632F705E29D}"/>
          </ac:grpSpMkLst>
        </pc:grpChg>
        <pc:grpChg chg="mod">
          <ac:chgData name="Barbara Schindler" userId="fa289460-f641-4c09-a7ed-c30ef1a3a221" providerId="ADAL" clId="{30FB7D48-16C7-43D3-9A3E-873933065505}" dt="2021-03-15T12:38:16.484" v="333" actId="962"/>
          <ac:grpSpMkLst>
            <pc:docMk/>
            <pc:sldMk cId="1422067149" sldId="459"/>
            <ac:grpSpMk id="141" creationId="{5E327D0F-F15D-4A57-9A82-E1225042D705}"/>
          </ac:grpSpMkLst>
        </pc:grpChg>
        <pc:grpChg chg="mod">
          <ac:chgData name="Barbara Schindler" userId="fa289460-f641-4c09-a7ed-c30ef1a3a221" providerId="ADAL" clId="{30FB7D48-16C7-43D3-9A3E-873933065505}" dt="2021-03-15T12:38:16.484" v="333" actId="962"/>
          <ac:grpSpMkLst>
            <pc:docMk/>
            <pc:sldMk cId="1422067149" sldId="459"/>
            <ac:grpSpMk id="142" creationId="{DC2D328E-5D4E-4683-93D1-F1C574CDCAA8}"/>
          </ac:grpSpMkLst>
        </pc:grpChg>
        <pc:grpChg chg="mod">
          <ac:chgData name="Barbara Schindler" userId="fa289460-f641-4c09-a7ed-c30ef1a3a221" providerId="ADAL" clId="{30FB7D48-16C7-43D3-9A3E-873933065505}" dt="2021-03-15T12:38:16.484" v="333" actId="962"/>
          <ac:grpSpMkLst>
            <pc:docMk/>
            <pc:sldMk cId="1422067149" sldId="459"/>
            <ac:grpSpMk id="143" creationId="{8359CAA7-129A-4E5E-AD8E-887C3441D5A5}"/>
          </ac:grpSpMkLst>
        </pc:grpChg>
      </pc:sldChg>
      <pc:sldChg chg="modSp">
        <pc:chgData name="Barbara Schindler" userId="fa289460-f641-4c09-a7ed-c30ef1a3a221" providerId="ADAL" clId="{30FB7D48-16C7-43D3-9A3E-873933065505}" dt="2021-03-15T12:37:54.599" v="297" actId="962"/>
        <pc:sldMkLst>
          <pc:docMk/>
          <pc:sldMk cId="2155923433" sldId="460"/>
        </pc:sldMkLst>
        <pc:spChg chg="mod">
          <ac:chgData name="Barbara Schindler" userId="fa289460-f641-4c09-a7ed-c30ef1a3a221" providerId="ADAL" clId="{30FB7D48-16C7-43D3-9A3E-873933065505}" dt="2021-03-15T12:37:54.599" v="297" actId="962"/>
          <ac:spMkLst>
            <pc:docMk/>
            <pc:sldMk cId="2155923433" sldId="460"/>
            <ac:spMk id="11" creationId="{9DC337FF-8F2C-493A-B6E6-8FD6AC2437DD}"/>
          </ac:spMkLst>
        </pc:spChg>
        <pc:spChg chg="mod">
          <ac:chgData name="Barbara Schindler" userId="fa289460-f641-4c09-a7ed-c30ef1a3a221" providerId="ADAL" clId="{30FB7D48-16C7-43D3-9A3E-873933065505}" dt="2021-03-15T12:37:54.599" v="297" actId="962"/>
          <ac:spMkLst>
            <pc:docMk/>
            <pc:sldMk cId="2155923433" sldId="460"/>
            <ac:spMk id="22" creationId="{40210DBF-06FE-4FF8-8B61-801CCE4D4BDA}"/>
          </ac:spMkLst>
        </pc:spChg>
        <pc:spChg chg="mod">
          <ac:chgData name="Barbara Schindler" userId="fa289460-f641-4c09-a7ed-c30ef1a3a221" providerId="ADAL" clId="{30FB7D48-16C7-43D3-9A3E-873933065505}" dt="2021-03-15T12:37:54.599" v="297" actId="962"/>
          <ac:spMkLst>
            <pc:docMk/>
            <pc:sldMk cId="2155923433" sldId="460"/>
            <ac:spMk id="48" creationId="{0A8739C0-D0C7-4291-9B60-111B0A50DAAC}"/>
          </ac:spMkLst>
        </pc:spChg>
        <pc:spChg chg="mod">
          <ac:chgData name="Barbara Schindler" userId="fa289460-f641-4c09-a7ed-c30ef1a3a221" providerId="ADAL" clId="{30FB7D48-16C7-43D3-9A3E-873933065505}" dt="2021-03-15T12:37:54.599" v="297" actId="962"/>
          <ac:spMkLst>
            <pc:docMk/>
            <pc:sldMk cId="2155923433" sldId="460"/>
            <ac:spMk id="49" creationId="{F8CB32F3-0F87-46CE-94BF-75C610044E29}"/>
          </ac:spMkLst>
        </pc:spChg>
        <pc:spChg chg="mod">
          <ac:chgData name="Barbara Schindler" userId="fa289460-f641-4c09-a7ed-c30ef1a3a221" providerId="ADAL" clId="{30FB7D48-16C7-43D3-9A3E-873933065505}" dt="2021-03-15T12:37:54.599" v="297" actId="962"/>
          <ac:spMkLst>
            <pc:docMk/>
            <pc:sldMk cId="2155923433" sldId="460"/>
            <ac:spMk id="50" creationId="{147DF07E-6A3E-4B77-9A3D-A9426B4F0F61}"/>
          </ac:spMkLst>
        </pc:spChg>
        <pc:spChg chg="mod">
          <ac:chgData name="Barbara Schindler" userId="fa289460-f641-4c09-a7ed-c30ef1a3a221" providerId="ADAL" clId="{30FB7D48-16C7-43D3-9A3E-873933065505}" dt="2021-03-15T12:37:54.599" v="297" actId="962"/>
          <ac:spMkLst>
            <pc:docMk/>
            <pc:sldMk cId="2155923433" sldId="460"/>
            <ac:spMk id="51" creationId="{9212C097-E046-4809-A020-48EC2CA43348}"/>
          </ac:spMkLst>
        </pc:spChg>
        <pc:spChg chg="mod">
          <ac:chgData name="Barbara Schindler" userId="fa289460-f641-4c09-a7ed-c30ef1a3a221" providerId="ADAL" clId="{30FB7D48-16C7-43D3-9A3E-873933065505}" dt="2021-03-15T12:37:54.599" v="297" actId="962"/>
          <ac:spMkLst>
            <pc:docMk/>
            <pc:sldMk cId="2155923433" sldId="460"/>
            <ac:spMk id="52" creationId="{92C7DDFC-EE0E-4777-BD9A-5CE5F7E8A294}"/>
          </ac:spMkLst>
        </pc:spChg>
        <pc:spChg chg="mod">
          <ac:chgData name="Barbara Schindler" userId="fa289460-f641-4c09-a7ed-c30ef1a3a221" providerId="ADAL" clId="{30FB7D48-16C7-43D3-9A3E-873933065505}" dt="2021-03-15T12:37:54.599" v="297" actId="962"/>
          <ac:spMkLst>
            <pc:docMk/>
            <pc:sldMk cId="2155923433" sldId="460"/>
            <ac:spMk id="230" creationId="{3C52BA89-C55D-43D0-A010-BF9B60E95225}"/>
          </ac:spMkLst>
        </pc:spChg>
        <pc:spChg chg="mod">
          <ac:chgData name="Barbara Schindler" userId="fa289460-f641-4c09-a7ed-c30ef1a3a221" providerId="ADAL" clId="{30FB7D48-16C7-43D3-9A3E-873933065505}" dt="2021-03-15T12:37:54.599" v="297" actId="962"/>
          <ac:spMkLst>
            <pc:docMk/>
            <pc:sldMk cId="2155923433" sldId="460"/>
            <ac:spMk id="231" creationId="{350D4527-23CE-44ED-A9E5-11999F18F707}"/>
          </ac:spMkLst>
        </pc:spChg>
        <pc:spChg chg="mod">
          <ac:chgData name="Barbara Schindler" userId="fa289460-f641-4c09-a7ed-c30ef1a3a221" providerId="ADAL" clId="{30FB7D48-16C7-43D3-9A3E-873933065505}" dt="2021-03-15T12:37:54.599" v="297" actId="962"/>
          <ac:spMkLst>
            <pc:docMk/>
            <pc:sldMk cId="2155923433" sldId="460"/>
            <ac:spMk id="232" creationId="{F956134D-CE31-48FB-8112-3438AB0AFB81}"/>
          </ac:spMkLst>
        </pc:spChg>
        <pc:grpChg chg="mod">
          <ac:chgData name="Barbara Schindler" userId="fa289460-f641-4c09-a7ed-c30ef1a3a221" providerId="ADAL" clId="{30FB7D48-16C7-43D3-9A3E-873933065505}" dt="2021-03-15T12:37:54.599" v="297" actId="962"/>
          <ac:grpSpMkLst>
            <pc:docMk/>
            <pc:sldMk cId="2155923433" sldId="460"/>
            <ac:grpSpMk id="4" creationId="{1F2E8992-1837-4D1B-A0B3-056F939978DF}"/>
          </ac:grpSpMkLst>
        </pc:grpChg>
        <pc:grpChg chg="mod">
          <ac:chgData name="Barbara Schindler" userId="fa289460-f641-4c09-a7ed-c30ef1a3a221" providerId="ADAL" clId="{30FB7D48-16C7-43D3-9A3E-873933065505}" dt="2021-03-15T12:37:54.599" v="297" actId="962"/>
          <ac:grpSpMkLst>
            <pc:docMk/>
            <pc:sldMk cId="2155923433" sldId="460"/>
            <ac:grpSpMk id="8" creationId="{962658ED-C864-4134-936A-24D28748C11C}"/>
          </ac:grpSpMkLst>
        </pc:grpChg>
        <pc:grpChg chg="mod">
          <ac:chgData name="Barbara Schindler" userId="fa289460-f641-4c09-a7ed-c30ef1a3a221" providerId="ADAL" clId="{30FB7D48-16C7-43D3-9A3E-873933065505}" dt="2021-03-15T12:37:54.599" v="297" actId="962"/>
          <ac:grpSpMkLst>
            <pc:docMk/>
            <pc:sldMk cId="2155923433" sldId="460"/>
            <ac:grpSpMk id="12" creationId="{7911909A-9594-40AA-9EA7-71F77C620CE9}"/>
          </ac:grpSpMkLst>
        </pc:grpChg>
        <pc:grpChg chg="mod">
          <ac:chgData name="Barbara Schindler" userId="fa289460-f641-4c09-a7ed-c30ef1a3a221" providerId="ADAL" clId="{30FB7D48-16C7-43D3-9A3E-873933065505}" dt="2021-03-15T12:37:54.599" v="297" actId="962"/>
          <ac:grpSpMkLst>
            <pc:docMk/>
            <pc:sldMk cId="2155923433" sldId="460"/>
            <ac:grpSpMk id="14" creationId="{0DEA197C-B722-4B6F-AF6F-DE0E00AFE65D}"/>
          </ac:grpSpMkLst>
        </pc:grpChg>
        <pc:grpChg chg="mod">
          <ac:chgData name="Barbara Schindler" userId="fa289460-f641-4c09-a7ed-c30ef1a3a221" providerId="ADAL" clId="{30FB7D48-16C7-43D3-9A3E-873933065505}" dt="2021-03-15T12:37:54.599" v="297" actId="962"/>
          <ac:grpSpMkLst>
            <pc:docMk/>
            <pc:sldMk cId="2155923433" sldId="460"/>
            <ac:grpSpMk id="16" creationId="{7F3BA510-B501-439F-909E-A94AA74C9017}"/>
          </ac:grpSpMkLst>
        </pc:grpChg>
        <pc:grpChg chg="mod">
          <ac:chgData name="Barbara Schindler" userId="fa289460-f641-4c09-a7ed-c30ef1a3a221" providerId="ADAL" clId="{30FB7D48-16C7-43D3-9A3E-873933065505}" dt="2021-03-15T12:37:54.599" v="297" actId="962"/>
          <ac:grpSpMkLst>
            <pc:docMk/>
            <pc:sldMk cId="2155923433" sldId="460"/>
            <ac:grpSpMk id="18" creationId="{9B41926F-E11F-4EDE-B212-18AB81B058D2}"/>
          </ac:grpSpMkLst>
        </pc:grpChg>
        <pc:picChg chg="mod">
          <ac:chgData name="Barbara Schindler" userId="fa289460-f641-4c09-a7ed-c30ef1a3a221" providerId="ADAL" clId="{30FB7D48-16C7-43D3-9A3E-873933065505}" dt="2021-03-15T12:37:54.599" v="297" actId="962"/>
          <ac:picMkLst>
            <pc:docMk/>
            <pc:sldMk cId="2155923433" sldId="460"/>
            <ac:picMk id="10" creationId="{2EB0B51A-20D2-48BB-AF79-DEFAD21246EB}"/>
          </ac:picMkLst>
        </pc:picChg>
      </pc:sldChg>
      <pc:sldChg chg="modSp mod">
        <pc:chgData name="Barbara Schindler" userId="fa289460-f641-4c09-a7ed-c30ef1a3a221" providerId="ADAL" clId="{30FB7D48-16C7-43D3-9A3E-873933065505}" dt="2021-03-15T12:37:37.601" v="253" actId="962"/>
        <pc:sldMkLst>
          <pc:docMk/>
          <pc:sldMk cId="519739522" sldId="462"/>
        </pc:sldMkLst>
        <pc:spChg chg="mod">
          <ac:chgData name="Barbara Schindler" userId="fa289460-f641-4c09-a7ed-c30ef1a3a221" providerId="ADAL" clId="{30FB7D48-16C7-43D3-9A3E-873933065505}" dt="2021-03-15T12:37:37.601" v="253" actId="962"/>
          <ac:spMkLst>
            <pc:docMk/>
            <pc:sldMk cId="519739522" sldId="462"/>
            <ac:spMk id="2" creationId="{9386E03B-009C-43FE-A69A-517D22EC7549}"/>
          </ac:spMkLst>
        </pc:spChg>
        <pc:spChg chg="mod">
          <ac:chgData name="Barbara Schindler" userId="fa289460-f641-4c09-a7ed-c30ef1a3a221" providerId="ADAL" clId="{30FB7D48-16C7-43D3-9A3E-873933065505}" dt="2021-03-15T12:37:37.601" v="253" actId="962"/>
          <ac:spMkLst>
            <pc:docMk/>
            <pc:sldMk cId="519739522" sldId="462"/>
            <ac:spMk id="11" creationId="{83B176E3-476D-4126-A6E5-8973F15C32E3}"/>
          </ac:spMkLst>
        </pc:spChg>
        <pc:grpChg chg="mod">
          <ac:chgData name="Barbara Schindler" userId="fa289460-f641-4c09-a7ed-c30ef1a3a221" providerId="ADAL" clId="{30FB7D48-16C7-43D3-9A3E-873933065505}" dt="2021-03-15T12:37:37.601" v="253" actId="962"/>
          <ac:grpSpMkLst>
            <pc:docMk/>
            <pc:sldMk cId="519739522" sldId="462"/>
            <ac:grpSpMk id="12" creationId="{1642BA8B-8C68-4EBD-9965-DEAF95D340CE}"/>
          </ac:grpSpMkLst>
        </pc:grpChg>
        <pc:grpChg chg="mod">
          <ac:chgData name="Barbara Schindler" userId="fa289460-f641-4c09-a7ed-c30ef1a3a221" providerId="ADAL" clId="{30FB7D48-16C7-43D3-9A3E-873933065505}" dt="2021-03-15T12:37:37.601" v="253" actId="962"/>
          <ac:grpSpMkLst>
            <pc:docMk/>
            <pc:sldMk cId="519739522" sldId="462"/>
            <ac:grpSpMk id="13" creationId="{E78ACC41-43CC-4240-A923-C3DCD244A53A}"/>
          </ac:grpSpMkLst>
        </pc:grpChg>
        <pc:picChg chg="mod">
          <ac:chgData name="Barbara Schindler" userId="fa289460-f641-4c09-a7ed-c30ef1a3a221" providerId="ADAL" clId="{30FB7D48-16C7-43D3-9A3E-873933065505}" dt="2021-03-15T12:37:37.601" v="253" actId="962"/>
          <ac:picMkLst>
            <pc:docMk/>
            <pc:sldMk cId="519739522" sldId="462"/>
            <ac:picMk id="27" creationId="{99CB6484-D5AD-4BF0-B87F-738A9AC1685D}"/>
          </ac:picMkLst>
        </pc:picChg>
        <pc:picChg chg="mod">
          <ac:chgData name="Barbara Schindler" userId="fa289460-f641-4c09-a7ed-c30ef1a3a221" providerId="ADAL" clId="{30FB7D48-16C7-43D3-9A3E-873933065505}" dt="2021-03-15T12:37:37.601" v="253" actId="962"/>
          <ac:picMkLst>
            <pc:docMk/>
            <pc:sldMk cId="519739522" sldId="462"/>
            <ac:picMk id="28" creationId="{931DF706-463C-4092-9DC5-ECFBF402F76C}"/>
          </ac:picMkLst>
        </pc:picChg>
        <pc:picChg chg="mod">
          <ac:chgData name="Barbara Schindler" userId="fa289460-f641-4c09-a7ed-c30ef1a3a221" providerId="ADAL" clId="{30FB7D48-16C7-43D3-9A3E-873933065505}" dt="2021-03-15T12:37:37.601" v="253" actId="962"/>
          <ac:picMkLst>
            <pc:docMk/>
            <pc:sldMk cId="519739522" sldId="462"/>
            <ac:picMk id="29" creationId="{B865565F-CB0E-4D29-AABC-9FE69FCFABC5}"/>
          </ac:picMkLst>
        </pc:picChg>
        <pc:picChg chg="mod">
          <ac:chgData name="Barbara Schindler" userId="fa289460-f641-4c09-a7ed-c30ef1a3a221" providerId="ADAL" clId="{30FB7D48-16C7-43D3-9A3E-873933065505}" dt="2021-03-15T12:37:37.601" v="253" actId="962"/>
          <ac:picMkLst>
            <pc:docMk/>
            <pc:sldMk cId="519739522" sldId="462"/>
            <ac:picMk id="30" creationId="{7331653A-FE7D-4928-B252-254D38011591}"/>
          </ac:picMkLst>
        </pc:picChg>
      </pc:sldChg>
      <pc:sldChg chg="modSp">
        <pc:chgData name="Barbara Schindler" userId="fa289460-f641-4c09-a7ed-c30ef1a3a221" providerId="ADAL" clId="{30FB7D48-16C7-43D3-9A3E-873933065505}" dt="2021-03-15T12:23:57.581" v="233" actId="962"/>
        <pc:sldMkLst>
          <pc:docMk/>
          <pc:sldMk cId="3617135118" sldId="466"/>
        </pc:sldMkLst>
        <pc:spChg chg="mod">
          <ac:chgData name="Barbara Schindler" userId="fa289460-f641-4c09-a7ed-c30ef1a3a221" providerId="ADAL" clId="{30FB7D48-16C7-43D3-9A3E-873933065505}" dt="2021-03-15T12:23:57.581" v="233" actId="962"/>
          <ac:spMkLst>
            <pc:docMk/>
            <pc:sldMk cId="3617135118" sldId="466"/>
            <ac:spMk id="2" creationId="{B42EA757-23BE-4ED2-AC01-84B4EC8DD0AA}"/>
          </ac:spMkLst>
        </pc:spChg>
        <pc:spChg chg="mod">
          <ac:chgData name="Barbara Schindler" userId="fa289460-f641-4c09-a7ed-c30ef1a3a221" providerId="ADAL" clId="{30FB7D48-16C7-43D3-9A3E-873933065505}" dt="2021-03-15T12:23:57.581" v="233" actId="962"/>
          <ac:spMkLst>
            <pc:docMk/>
            <pc:sldMk cId="3617135118" sldId="466"/>
            <ac:spMk id="3" creationId="{2CD8893D-873A-48CA-9CEC-E1EDF43076C3}"/>
          </ac:spMkLst>
        </pc:spChg>
        <pc:spChg chg="mod">
          <ac:chgData name="Barbara Schindler" userId="fa289460-f641-4c09-a7ed-c30ef1a3a221" providerId="ADAL" clId="{30FB7D48-16C7-43D3-9A3E-873933065505}" dt="2021-03-15T12:23:57.581" v="233" actId="962"/>
          <ac:spMkLst>
            <pc:docMk/>
            <pc:sldMk cId="3617135118" sldId="466"/>
            <ac:spMk id="4" creationId="{FF756D63-32CF-4EB6-9FD0-CAAB21D480DC}"/>
          </ac:spMkLst>
        </pc:spChg>
        <pc:spChg chg="mod">
          <ac:chgData name="Barbara Schindler" userId="fa289460-f641-4c09-a7ed-c30ef1a3a221" providerId="ADAL" clId="{30FB7D48-16C7-43D3-9A3E-873933065505}" dt="2021-03-15T12:23:57.581" v="233" actId="962"/>
          <ac:spMkLst>
            <pc:docMk/>
            <pc:sldMk cId="3617135118" sldId="466"/>
            <ac:spMk id="7" creationId="{F0F3ED03-5525-45DB-ADEB-0EC3CB7FB247}"/>
          </ac:spMkLst>
        </pc:spChg>
        <pc:spChg chg="mod">
          <ac:chgData name="Barbara Schindler" userId="fa289460-f641-4c09-a7ed-c30ef1a3a221" providerId="ADAL" clId="{30FB7D48-16C7-43D3-9A3E-873933065505}" dt="2021-03-15T12:23:57.581" v="233" actId="962"/>
          <ac:spMkLst>
            <pc:docMk/>
            <pc:sldMk cId="3617135118" sldId="466"/>
            <ac:spMk id="19" creationId="{8E8BA57A-6A31-4F7B-94AC-F8B39882AA5F}"/>
          </ac:spMkLst>
        </pc:spChg>
        <pc:spChg chg="mod">
          <ac:chgData name="Barbara Schindler" userId="fa289460-f641-4c09-a7ed-c30ef1a3a221" providerId="ADAL" clId="{30FB7D48-16C7-43D3-9A3E-873933065505}" dt="2021-03-15T12:23:57.581" v="233" actId="962"/>
          <ac:spMkLst>
            <pc:docMk/>
            <pc:sldMk cId="3617135118" sldId="466"/>
            <ac:spMk id="25" creationId="{999798AA-7C5B-4F64-9A91-531A3A115096}"/>
          </ac:spMkLst>
        </pc:spChg>
        <pc:picChg chg="mod">
          <ac:chgData name="Barbara Schindler" userId="fa289460-f641-4c09-a7ed-c30ef1a3a221" providerId="ADAL" clId="{30FB7D48-16C7-43D3-9A3E-873933065505}" dt="2021-03-15T12:23:57.581" v="233" actId="962"/>
          <ac:picMkLst>
            <pc:docMk/>
            <pc:sldMk cId="3617135118" sldId="466"/>
            <ac:picMk id="5" creationId="{00000000-0000-0000-0000-000000000000}"/>
          </ac:picMkLst>
        </pc:picChg>
        <pc:picChg chg="mod">
          <ac:chgData name="Barbara Schindler" userId="fa289460-f641-4c09-a7ed-c30ef1a3a221" providerId="ADAL" clId="{30FB7D48-16C7-43D3-9A3E-873933065505}" dt="2021-03-15T12:23:57.581" v="233" actId="962"/>
          <ac:picMkLst>
            <pc:docMk/>
            <pc:sldMk cId="3617135118" sldId="466"/>
            <ac:picMk id="6" creationId="{25351BBB-E0AA-42AC-8CE5-A8A489586E68}"/>
          </ac:picMkLst>
        </pc:picChg>
        <pc:picChg chg="mod">
          <ac:chgData name="Barbara Schindler" userId="fa289460-f641-4c09-a7ed-c30ef1a3a221" providerId="ADAL" clId="{30FB7D48-16C7-43D3-9A3E-873933065505}" dt="2021-03-15T12:23:57.581" v="233" actId="962"/>
          <ac:picMkLst>
            <pc:docMk/>
            <pc:sldMk cId="3617135118" sldId="466"/>
            <ac:picMk id="8" creationId="{00000000-0000-0000-0000-000000000000}"/>
          </ac:picMkLst>
        </pc:picChg>
        <pc:picChg chg="mod">
          <ac:chgData name="Barbara Schindler" userId="fa289460-f641-4c09-a7ed-c30ef1a3a221" providerId="ADAL" clId="{30FB7D48-16C7-43D3-9A3E-873933065505}" dt="2021-03-15T12:23:57.581" v="233" actId="962"/>
          <ac:picMkLst>
            <pc:docMk/>
            <pc:sldMk cId="3617135118" sldId="466"/>
            <ac:picMk id="9" creationId="{00000000-0000-0000-0000-000000000000}"/>
          </ac:picMkLst>
        </pc:picChg>
        <pc:picChg chg="mod">
          <ac:chgData name="Barbara Schindler" userId="fa289460-f641-4c09-a7ed-c30ef1a3a221" providerId="ADAL" clId="{30FB7D48-16C7-43D3-9A3E-873933065505}" dt="2021-03-15T12:23:57.581" v="233" actId="962"/>
          <ac:picMkLst>
            <pc:docMk/>
            <pc:sldMk cId="3617135118" sldId="466"/>
            <ac:picMk id="17" creationId="{4E8F665B-C64F-4B72-B8B4-12B4C3949F5F}"/>
          </ac:picMkLst>
        </pc:picChg>
        <pc:picChg chg="mod">
          <ac:chgData name="Barbara Schindler" userId="fa289460-f641-4c09-a7ed-c30ef1a3a221" providerId="ADAL" clId="{30FB7D48-16C7-43D3-9A3E-873933065505}" dt="2021-03-15T12:23:57.581" v="233" actId="962"/>
          <ac:picMkLst>
            <pc:docMk/>
            <pc:sldMk cId="3617135118" sldId="466"/>
            <ac:picMk id="20" creationId="{E96DEE49-0980-4E15-A497-76BEFC2A085D}"/>
          </ac:picMkLst>
        </pc:picChg>
        <pc:picChg chg="mod">
          <ac:chgData name="Barbara Schindler" userId="fa289460-f641-4c09-a7ed-c30ef1a3a221" providerId="ADAL" clId="{30FB7D48-16C7-43D3-9A3E-873933065505}" dt="2021-03-15T12:23:57.581" v="233" actId="962"/>
          <ac:picMkLst>
            <pc:docMk/>
            <pc:sldMk cId="3617135118" sldId="466"/>
            <ac:picMk id="22" creationId="{B3DE7CA7-AF9B-433E-B6A1-90727B919EFA}"/>
          </ac:picMkLst>
        </pc:picChg>
        <pc:picChg chg="mod">
          <ac:chgData name="Barbara Schindler" userId="fa289460-f641-4c09-a7ed-c30ef1a3a221" providerId="ADAL" clId="{30FB7D48-16C7-43D3-9A3E-873933065505}" dt="2021-03-15T12:23:57.581" v="233" actId="962"/>
          <ac:picMkLst>
            <pc:docMk/>
            <pc:sldMk cId="3617135118" sldId="466"/>
            <ac:picMk id="23" creationId="{F3992DA2-564F-4B9A-BF04-DBB289E04AFB}"/>
          </ac:picMkLst>
        </pc:picChg>
      </pc:sldChg>
      <pc:sldChg chg="delSp modSp mod">
        <pc:chgData name="Barbara Schindler" userId="fa289460-f641-4c09-a7ed-c30ef1a3a221" providerId="ADAL" clId="{30FB7D48-16C7-43D3-9A3E-873933065505}" dt="2021-03-15T12:23:11.909" v="185" actId="962"/>
        <pc:sldMkLst>
          <pc:docMk/>
          <pc:sldMk cId="3026030530" sldId="468"/>
        </pc:sldMkLst>
        <pc:spChg chg="del">
          <ac:chgData name="Barbara Schindler" userId="fa289460-f641-4c09-a7ed-c30ef1a3a221" providerId="ADAL" clId="{30FB7D48-16C7-43D3-9A3E-873933065505}" dt="2021-03-15T12:22:25.928" v="161" actId="478"/>
          <ac:spMkLst>
            <pc:docMk/>
            <pc:sldMk cId="3026030530" sldId="468"/>
            <ac:spMk id="7" creationId="{00000000-0000-0000-0000-000000000000}"/>
          </ac:spMkLst>
        </pc:spChg>
        <pc:spChg chg="mod">
          <ac:chgData name="Barbara Schindler" userId="fa289460-f641-4c09-a7ed-c30ef1a3a221" providerId="ADAL" clId="{30FB7D48-16C7-43D3-9A3E-873933065505}" dt="2021-03-15T12:23:11.909" v="185" actId="962"/>
          <ac:spMkLst>
            <pc:docMk/>
            <pc:sldMk cId="3026030530" sldId="468"/>
            <ac:spMk id="13" creationId="{73087362-8DDE-4293-8F93-50D5492079FB}"/>
          </ac:spMkLst>
        </pc:spChg>
        <pc:spChg chg="mod">
          <ac:chgData name="Barbara Schindler" userId="fa289460-f641-4c09-a7ed-c30ef1a3a221" providerId="ADAL" clId="{30FB7D48-16C7-43D3-9A3E-873933065505}" dt="2021-03-15T12:23:11.909" v="185" actId="962"/>
          <ac:spMkLst>
            <pc:docMk/>
            <pc:sldMk cId="3026030530" sldId="468"/>
            <ac:spMk id="17" creationId="{C455F4E1-A585-4F95-A12C-2D9ADDCC9484}"/>
          </ac:spMkLst>
        </pc:spChg>
        <pc:spChg chg="mod">
          <ac:chgData name="Barbara Schindler" userId="fa289460-f641-4c09-a7ed-c30ef1a3a221" providerId="ADAL" clId="{30FB7D48-16C7-43D3-9A3E-873933065505}" dt="2021-03-15T12:23:11.909" v="185" actId="962"/>
          <ac:spMkLst>
            <pc:docMk/>
            <pc:sldMk cId="3026030530" sldId="468"/>
            <ac:spMk id="18" creationId="{5A09CD34-4F37-4030-BF4E-1DD0B95C75F3}"/>
          </ac:spMkLst>
        </pc:spChg>
        <pc:grpChg chg="mod">
          <ac:chgData name="Barbara Schindler" userId="fa289460-f641-4c09-a7ed-c30ef1a3a221" providerId="ADAL" clId="{30FB7D48-16C7-43D3-9A3E-873933065505}" dt="2021-03-15T12:23:11.909" v="185" actId="962"/>
          <ac:grpSpMkLst>
            <pc:docMk/>
            <pc:sldMk cId="3026030530" sldId="468"/>
            <ac:grpSpMk id="26" creationId="{A1D61C65-7F4A-4B7E-B1ED-429C91799D84}"/>
          </ac:grpSpMkLst>
        </pc:grpChg>
        <pc:picChg chg="mod">
          <ac:chgData name="Barbara Schindler" userId="fa289460-f641-4c09-a7ed-c30ef1a3a221" providerId="ADAL" clId="{30FB7D48-16C7-43D3-9A3E-873933065505}" dt="2021-03-15T12:23:11.909" v="185" actId="962"/>
          <ac:picMkLst>
            <pc:docMk/>
            <pc:sldMk cId="3026030530" sldId="468"/>
            <ac:picMk id="12" creationId="{00000000-0000-0000-0000-000000000000}"/>
          </ac:picMkLst>
        </pc:picChg>
        <pc:picChg chg="mod">
          <ac:chgData name="Barbara Schindler" userId="fa289460-f641-4c09-a7ed-c30ef1a3a221" providerId="ADAL" clId="{30FB7D48-16C7-43D3-9A3E-873933065505}" dt="2021-03-15T12:23:11.909" v="185" actId="962"/>
          <ac:picMkLst>
            <pc:docMk/>
            <pc:sldMk cId="3026030530" sldId="468"/>
            <ac:picMk id="14" creationId="{00000000-0000-0000-0000-000000000000}"/>
          </ac:picMkLst>
        </pc:picChg>
        <pc:picChg chg="mod">
          <ac:chgData name="Barbara Schindler" userId="fa289460-f641-4c09-a7ed-c30ef1a3a221" providerId="ADAL" clId="{30FB7D48-16C7-43D3-9A3E-873933065505}" dt="2021-03-15T12:23:11.909" v="185" actId="962"/>
          <ac:picMkLst>
            <pc:docMk/>
            <pc:sldMk cId="3026030530" sldId="468"/>
            <ac:picMk id="15" creationId="{00000000-0000-0000-0000-000000000000}"/>
          </ac:picMkLst>
        </pc:picChg>
        <pc:picChg chg="mod">
          <ac:chgData name="Barbara Schindler" userId="fa289460-f641-4c09-a7ed-c30ef1a3a221" providerId="ADAL" clId="{30FB7D48-16C7-43D3-9A3E-873933065505}" dt="2021-03-15T12:23:11.909" v="185" actId="962"/>
          <ac:picMkLst>
            <pc:docMk/>
            <pc:sldMk cId="3026030530" sldId="468"/>
            <ac:picMk id="23" creationId="{9737CBFF-4494-4063-B173-0CFF9F41FE9F}"/>
          </ac:picMkLst>
        </pc:picChg>
        <pc:picChg chg="mod">
          <ac:chgData name="Barbara Schindler" userId="fa289460-f641-4c09-a7ed-c30ef1a3a221" providerId="ADAL" clId="{30FB7D48-16C7-43D3-9A3E-873933065505}" dt="2021-03-15T12:23:11.909" v="185" actId="962"/>
          <ac:picMkLst>
            <pc:docMk/>
            <pc:sldMk cId="3026030530" sldId="468"/>
            <ac:picMk id="37" creationId="{516015AE-09F7-44F4-B721-29705B1FA25A}"/>
          </ac:picMkLst>
        </pc:picChg>
        <pc:picChg chg="mod">
          <ac:chgData name="Barbara Schindler" userId="fa289460-f641-4c09-a7ed-c30ef1a3a221" providerId="ADAL" clId="{30FB7D48-16C7-43D3-9A3E-873933065505}" dt="2021-03-15T12:23:11.909" v="185" actId="962"/>
          <ac:picMkLst>
            <pc:docMk/>
            <pc:sldMk cId="3026030530" sldId="468"/>
            <ac:picMk id="50" creationId="{52FFAF4E-B96D-443D-8B35-B9B349C8E66A}"/>
          </ac:picMkLst>
        </pc:picChg>
        <pc:picChg chg="mod">
          <ac:chgData name="Barbara Schindler" userId="fa289460-f641-4c09-a7ed-c30ef1a3a221" providerId="ADAL" clId="{30FB7D48-16C7-43D3-9A3E-873933065505}" dt="2021-03-15T12:23:11.909" v="185" actId="962"/>
          <ac:picMkLst>
            <pc:docMk/>
            <pc:sldMk cId="3026030530" sldId="468"/>
            <ac:picMk id="57" creationId="{922FF12A-88C8-4823-B147-3EF6B00C648C}"/>
          </ac:picMkLst>
        </pc:picChg>
        <pc:picChg chg="mod">
          <ac:chgData name="Barbara Schindler" userId="fa289460-f641-4c09-a7ed-c30ef1a3a221" providerId="ADAL" clId="{30FB7D48-16C7-43D3-9A3E-873933065505}" dt="2021-03-15T12:23:11.909" v="185" actId="962"/>
          <ac:picMkLst>
            <pc:docMk/>
            <pc:sldMk cId="3026030530" sldId="468"/>
            <ac:picMk id="67" creationId="{4A15A74E-61B7-444B-9396-A53B2CB086A6}"/>
          </ac:picMkLst>
        </pc:picChg>
        <pc:picChg chg="mod">
          <ac:chgData name="Barbara Schindler" userId="fa289460-f641-4c09-a7ed-c30ef1a3a221" providerId="ADAL" clId="{30FB7D48-16C7-43D3-9A3E-873933065505}" dt="2021-03-15T12:23:11.909" v="185" actId="962"/>
          <ac:picMkLst>
            <pc:docMk/>
            <pc:sldMk cId="3026030530" sldId="468"/>
            <ac:picMk id="69" creationId="{D5055527-3DF1-4B84-A57B-415DE3F66CD7}"/>
          </ac:picMkLst>
        </pc:picChg>
      </pc:sldChg>
      <pc:sldChg chg="modSp mod">
        <pc:chgData name="Barbara Schindler" userId="fa289460-f641-4c09-a7ed-c30ef1a3a221" providerId="ADAL" clId="{30FB7D48-16C7-43D3-9A3E-873933065505}" dt="2021-03-15T12:23:45.369" v="207" actId="962"/>
        <pc:sldMkLst>
          <pc:docMk/>
          <pc:sldMk cId="2234878808" sldId="471"/>
        </pc:sldMkLst>
        <pc:spChg chg="mod">
          <ac:chgData name="Barbara Schindler" userId="fa289460-f641-4c09-a7ed-c30ef1a3a221" providerId="ADAL" clId="{30FB7D48-16C7-43D3-9A3E-873933065505}" dt="2021-03-15T12:23:45.369" v="207" actId="962"/>
          <ac:spMkLst>
            <pc:docMk/>
            <pc:sldMk cId="2234878808" sldId="471"/>
            <ac:spMk id="2" creationId="{B42EA757-23BE-4ED2-AC01-84B4EC8DD0AA}"/>
          </ac:spMkLst>
        </pc:spChg>
        <pc:spChg chg="mod">
          <ac:chgData name="Barbara Schindler" userId="fa289460-f641-4c09-a7ed-c30ef1a3a221" providerId="ADAL" clId="{30FB7D48-16C7-43D3-9A3E-873933065505}" dt="2021-03-15T12:23:45.369" v="207" actId="962"/>
          <ac:spMkLst>
            <pc:docMk/>
            <pc:sldMk cId="2234878808" sldId="471"/>
            <ac:spMk id="3" creationId="{2CD8893D-873A-48CA-9CEC-E1EDF43076C3}"/>
          </ac:spMkLst>
        </pc:spChg>
        <pc:spChg chg="mod">
          <ac:chgData name="Barbara Schindler" userId="fa289460-f641-4c09-a7ed-c30ef1a3a221" providerId="ADAL" clId="{30FB7D48-16C7-43D3-9A3E-873933065505}" dt="2021-03-15T12:23:45.369" v="207" actId="962"/>
          <ac:spMkLst>
            <pc:docMk/>
            <pc:sldMk cId="2234878808" sldId="471"/>
            <ac:spMk id="4" creationId="{FF756D63-32CF-4EB6-9FD0-CAAB21D480DC}"/>
          </ac:spMkLst>
        </pc:spChg>
        <pc:spChg chg="mod">
          <ac:chgData name="Barbara Schindler" userId="fa289460-f641-4c09-a7ed-c30ef1a3a221" providerId="ADAL" clId="{30FB7D48-16C7-43D3-9A3E-873933065505}" dt="2021-03-15T12:23:45.369" v="207" actId="962"/>
          <ac:spMkLst>
            <pc:docMk/>
            <pc:sldMk cId="2234878808" sldId="471"/>
            <ac:spMk id="13" creationId="{AC813906-2AA6-49B6-B75E-203FA4FC64B9}"/>
          </ac:spMkLst>
        </pc:spChg>
        <pc:spChg chg="mod">
          <ac:chgData name="Barbara Schindler" userId="fa289460-f641-4c09-a7ed-c30ef1a3a221" providerId="ADAL" clId="{30FB7D48-16C7-43D3-9A3E-873933065505}" dt="2021-03-15T12:23:45.369" v="207" actId="962"/>
          <ac:spMkLst>
            <pc:docMk/>
            <pc:sldMk cId="2234878808" sldId="471"/>
            <ac:spMk id="15" creationId="{302E6264-0958-400C-AF8C-24C2F88DC328}"/>
          </ac:spMkLst>
        </pc:spChg>
        <pc:spChg chg="mod">
          <ac:chgData name="Barbara Schindler" userId="fa289460-f641-4c09-a7ed-c30ef1a3a221" providerId="ADAL" clId="{30FB7D48-16C7-43D3-9A3E-873933065505}" dt="2021-03-15T12:23:45.369" v="207" actId="962"/>
          <ac:spMkLst>
            <pc:docMk/>
            <pc:sldMk cId="2234878808" sldId="471"/>
            <ac:spMk id="17" creationId="{610F08FF-982C-49B1-8E3F-7B9B2741989F}"/>
          </ac:spMkLst>
        </pc:spChg>
        <pc:spChg chg="mod">
          <ac:chgData name="Barbara Schindler" userId="fa289460-f641-4c09-a7ed-c30ef1a3a221" providerId="ADAL" clId="{30FB7D48-16C7-43D3-9A3E-873933065505}" dt="2021-03-15T12:23:45.369" v="207" actId="962"/>
          <ac:spMkLst>
            <pc:docMk/>
            <pc:sldMk cId="2234878808" sldId="471"/>
            <ac:spMk id="18" creationId="{302E6264-0958-400C-AF8C-24C2F88DC328}"/>
          </ac:spMkLst>
        </pc:spChg>
        <pc:spChg chg="mod">
          <ac:chgData name="Barbara Schindler" userId="fa289460-f641-4c09-a7ed-c30ef1a3a221" providerId="ADAL" clId="{30FB7D48-16C7-43D3-9A3E-873933065505}" dt="2021-03-15T12:23:45.369" v="207" actId="962"/>
          <ac:spMkLst>
            <pc:docMk/>
            <pc:sldMk cId="2234878808" sldId="471"/>
            <ac:spMk id="21" creationId="{9A09793D-8EC4-4550-93F7-552094FD8AD7}"/>
          </ac:spMkLst>
        </pc:spChg>
        <pc:spChg chg="mod">
          <ac:chgData name="Barbara Schindler" userId="fa289460-f641-4c09-a7ed-c30ef1a3a221" providerId="ADAL" clId="{30FB7D48-16C7-43D3-9A3E-873933065505}" dt="2021-03-15T12:23:45.369" v="207" actId="962"/>
          <ac:spMkLst>
            <pc:docMk/>
            <pc:sldMk cId="2234878808" sldId="471"/>
            <ac:spMk id="26" creationId="{610F08FF-982C-49B1-8E3F-7B9B2741989F}"/>
          </ac:spMkLst>
        </pc:spChg>
        <pc:spChg chg="mod">
          <ac:chgData name="Barbara Schindler" userId="fa289460-f641-4c09-a7ed-c30ef1a3a221" providerId="ADAL" clId="{30FB7D48-16C7-43D3-9A3E-873933065505}" dt="2021-03-15T12:23:45.369" v="207" actId="962"/>
          <ac:spMkLst>
            <pc:docMk/>
            <pc:sldMk cId="2234878808" sldId="471"/>
            <ac:spMk id="27" creationId="{97F99F55-C7B5-4051-888C-968CFAEB93B6}"/>
          </ac:spMkLst>
        </pc:spChg>
        <pc:spChg chg="mod">
          <ac:chgData name="Barbara Schindler" userId="fa289460-f641-4c09-a7ed-c30ef1a3a221" providerId="ADAL" clId="{30FB7D48-16C7-43D3-9A3E-873933065505}" dt="2021-03-15T12:23:45.369" v="207" actId="962"/>
          <ac:spMkLst>
            <pc:docMk/>
            <pc:sldMk cId="2234878808" sldId="471"/>
            <ac:spMk id="28" creationId="{A4043095-E738-471F-9706-646C452D0950}"/>
          </ac:spMkLst>
        </pc:spChg>
        <pc:picChg chg="mod">
          <ac:chgData name="Barbara Schindler" userId="fa289460-f641-4c09-a7ed-c30ef1a3a221" providerId="ADAL" clId="{30FB7D48-16C7-43D3-9A3E-873933065505}" dt="2021-03-15T12:23:45.369" v="207" actId="962"/>
          <ac:picMkLst>
            <pc:docMk/>
            <pc:sldMk cId="2234878808" sldId="471"/>
            <ac:picMk id="6" creationId="{25351BBB-E0AA-42AC-8CE5-A8A489586E68}"/>
          </ac:picMkLst>
        </pc:picChg>
        <pc:picChg chg="mod">
          <ac:chgData name="Barbara Schindler" userId="fa289460-f641-4c09-a7ed-c30ef1a3a221" providerId="ADAL" clId="{30FB7D48-16C7-43D3-9A3E-873933065505}" dt="2021-03-15T12:23:45.369" v="207" actId="962"/>
          <ac:picMkLst>
            <pc:docMk/>
            <pc:sldMk cId="2234878808" sldId="471"/>
            <ac:picMk id="12" creationId="{75AE6314-9AE6-4F80-876B-536E31C678AF}"/>
          </ac:picMkLst>
        </pc:picChg>
        <pc:picChg chg="mod">
          <ac:chgData name="Barbara Schindler" userId="fa289460-f641-4c09-a7ed-c30ef1a3a221" providerId="ADAL" clId="{30FB7D48-16C7-43D3-9A3E-873933065505}" dt="2021-03-15T12:23:45.369" v="207" actId="962"/>
          <ac:picMkLst>
            <pc:docMk/>
            <pc:sldMk cId="2234878808" sldId="471"/>
            <ac:picMk id="16" creationId="{9483981B-D0DD-4704-80C0-BEF855889622}"/>
          </ac:picMkLst>
        </pc:picChg>
      </pc:sldChg>
      <pc:sldChg chg="modSp">
        <pc:chgData name="Barbara Schindler" userId="fa289460-f641-4c09-a7ed-c30ef1a3a221" providerId="ADAL" clId="{30FB7D48-16C7-43D3-9A3E-873933065505}" dt="2021-03-15T12:38:52.876" v="443" actId="962"/>
        <pc:sldMkLst>
          <pc:docMk/>
          <pc:sldMk cId="452406748" sldId="472"/>
        </pc:sldMkLst>
        <pc:spChg chg="mod">
          <ac:chgData name="Barbara Schindler" userId="fa289460-f641-4c09-a7ed-c30ef1a3a221" providerId="ADAL" clId="{30FB7D48-16C7-43D3-9A3E-873933065505}" dt="2021-03-15T12:38:52.876" v="443" actId="962"/>
          <ac:spMkLst>
            <pc:docMk/>
            <pc:sldMk cId="452406748" sldId="472"/>
            <ac:spMk id="4" creationId="{992726EB-0FFB-486F-A8D8-61F71B8BD2C0}"/>
          </ac:spMkLst>
        </pc:spChg>
        <pc:spChg chg="mod">
          <ac:chgData name="Barbara Schindler" userId="fa289460-f641-4c09-a7ed-c30ef1a3a221" providerId="ADAL" clId="{30FB7D48-16C7-43D3-9A3E-873933065505}" dt="2021-03-15T12:38:52.876" v="443" actId="962"/>
          <ac:spMkLst>
            <pc:docMk/>
            <pc:sldMk cId="452406748" sldId="472"/>
            <ac:spMk id="118" creationId="{8B154D01-4F06-4F89-B1F7-D6F885BD5132}"/>
          </ac:spMkLst>
        </pc:spChg>
        <pc:spChg chg="mod">
          <ac:chgData name="Barbara Schindler" userId="fa289460-f641-4c09-a7ed-c30ef1a3a221" providerId="ADAL" clId="{30FB7D48-16C7-43D3-9A3E-873933065505}" dt="2021-03-15T12:38:52.876" v="443" actId="962"/>
          <ac:spMkLst>
            <pc:docMk/>
            <pc:sldMk cId="452406748" sldId="472"/>
            <ac:spMk id="119" creationId="{0B2F1BAD-2297-4428-84C8-83B42A01F147}"/>
          </ac:spMkLst>
        </pc:spChg>
        <pc:spChg chg="mod">
          <ac:chgData name="Barbara Schindler" userId="fa289460-f641-4c09-a7ed-c30ef1a3a221" providerId="ADAL" clId="{30FB7D48-16C7-43D3-9A3E-873933065505}" dt="2021-03-15T12:38:52.876" v="443" actId="962"/>
          <ac:spMkLst>
            <pc:docMk/>
            <pc:sldMk cId="452406748" sldId="472"/>
            <ac:spMk id="184" creationId="{AFB3CE86-7C69-4BB8-A4E0-8F12441DA4FA}"/>
          </ac:spMkLst>
        </pc:spChg>
        <pc:spChg chg="mod">
          <ac:chgData name="Barbara Schindler" userId="fa289460-f641-4c09-a7ed-c30ef1a3a221" providerId="ADAL" clId="{30FB7D48-16C7-43D3-9A3E-873933065505}" dt="2021-03-15T12:38:52.876" v="443" actId="962"/>
          <ac:spMkLst>
            <pc:docMk/>
            <pc:sldMk cId="452406748" sldId="472"/>
            <ac:spMk id="208" creationId="{17FE3D7C-A352-4C47-88FC-A6608E2E2CF0}"/>
          </ac:spMkLst>
        </pc:spChg>
        <pc:spChg chg="mod">
          <ac:chgData name="Barbara Schindler" userId="fa289460-f641-4c09-a7ed-c30ef1a3a221" providerId="ADAL" clId="{30FB7D48-16C7-43D3-9A3E-873933065505}" dt="2021-03-15T12:38:52.876" v="443" actId="962"/>
          <ac:spMkLst>
            <pc:docMk/>
            <pc:sldMk cId="452406748" sldId="472"/>
            <ac:spMk id="230" creationId="{FF41811E-A9F4-45F4-B316-11808FD5CD58}"/>
          </ac:spMkLst>
        </pc:spChg>
        <pc:spChg chg="mod">
          <ac:chgData name="Barbara Schindler" userId="fa289460-f641-4c09-a7ed-c30ef1a3a221" providerId="ADAL" clId="{30FB7D48-16C7-43D3-9A3E-873933065505}" dt="2021-03-15T12:38:52.876" v="443" actId="962"/>
          <ac:spMkLst>
            <pc:docMk/>
            <pc:sldMk cId="452406748" sldId="472"/>
            <ac:spMk id="231" creationId="{675CDD48-39A0-4549-8513-F314B4454E07}"/>
          </ac:spMkLst>
        </pc:spChg>
        <pc:spChg chg="mod">
          <ac:chgData name="Barbara Schindler" userId="fa289460-f641-4c09-a7ed-c30ef1a3a221" providerId="ADAL" clId="{30FB7D48-16C7-43D3-9A3E-873933065505}" dt="2021-03-15T12:38:52.876" v="443" actId="962"/>
          <ac:spMkLst>
            <pc:docMk/>
            <pc:sldMk cId="452406748" sldId="472"/>
            <ac:spMk id="232" creationId="{9D2E6D45-13FF-4908-AB54-EFA0976F8FE2}"/>
          </ac:spMkLst>
        </pc:spChg>
        <pc:spChg chg="mod">
          <ac:chgData name="Barbara Schindler" userId="fa289460-f641-4c09-a7ed-c30ef1a3a221" providerId="ADAL" clId="{30FB7D48-16C7-43D3-9A3E-873933065505}" dt="2021-03-15T12:38:52.876" v="443" actId="962"/>
          <ac:spMkLst>
            <pc:docMk/>
            <pc:sldMk cId="452406748" sldId="472"/>
            <ac:spMk id="233" creationId="{B8A654B7-2C45-428A-92BC-1CC04DC0842B}"/>
          </ac:spMkLst>
        </pc:spChg>
        <pc:grpChg chg="mod">
          <ac:chgData name="Barbara Schindler" userId="fa289460-f641-4c09-a7ed-c30ef1a3a221" providerId="ADAL" clId="{30FB7D48-16C7-43D3-9A3E-873933065505}" dt="2021-03-15T12:38:52.876" v="443" actId="962"/>
          <ac:grpSpMkLst>
            <pc:docMk/>
            <pc:sldMk cId="452406748" sldId="472"/>
            <ac:grpSpMk id="120" creationId="{C8C2DE0B-C1EB-426D-91ED-7558F2867B35}"/>
          </ac:grpSpMkLst>
        </pc:grpChg>
        <pc:grpChg chg="mod">
          <ac:chgData name="Barbara Schindler" userId="fa289460-f641-4c09-a7ed-c30ef1a3a221" providerId="ADAL" clId="{30FB7D48-16C7-43D3-9A3E-873933065505}" dt="2021-03-15T12:38:52.876" v="443" actId="962"/>
          <ac:grpSpMkLst>
            <pc:docMk/>
            <pc:sldMk cId="452406748" sldId="472"/>
            <ac:grpSpMk id="121" creationId="{A5586E3D-E994-4808-BB3C-8612A96C3385}"/>
          </ac:grpSpMkLst>
        </pc:grpChg>
        <pc:grpChg chg="mod">
          <ac:chgData name="Barbara Schindler" userId="fa289460-f641-4c09-a7ed-c30ef1a3a221" providerId="ADAL" clId="{30FB7D48-16C7-43D3-9A3E-873933065505}" dt="2021-03-15T12:38:52.876" v="443" actId="962"/>
          <ac:grpSpMkLst>
            <pc:docMk/>
            <pc:sldMk cId="452406748" sldId="472"/>
            <ac:grpSpMk id="122" creationId="{29C820A1-948C-4EA1-9AD4-7729569C8EA4}"/>
          </ac:grpSpMkLst>
        </pc:grpChg>
        <pc:grpChg chg="mod">
          <ac:chgData name="Barbara Schindler" userId="fa289460-f641-4c09-a7ed-c30ef1a3a221" providerId="ADAL" clId="{30FB7D48-16C7-43D3-9A3E-873933065505}" dt="2021-03-15T12:38:52.876" v="443" actId="962"/>
          <ac:grpSpMkLst>
            <pc:docMk/>
            <pc:sldMk cId="452406748" sldId="472"/>
            <ac:grpSpMk id="175" creationId="{0DD4FF0E-0CDA-43C2-9E39-1FBB0068425C}"/>
          </ac:grpSpMkLst>
        </pc:grpChg>
        <pc:grpChg chg="mod">
          <ac:chgData name="Barbara Schindler" userId="fa289460-f641-4c09-a7ed-c30ef1a3a221" providerId="ADAL" clId="{30FB7D48-16C7-43D3-9A3E-873933065505}" dt="2021-03-15T12:38:52.876" v="443" actId="962"/>
          <ac:grpSpMkLst>
            <pc:docMk/>
            <pc:sldMk cId="452406748" sldId="472"/>
            <ac:grpSpMk id="188" creationId="{CC546835-7A6E-4841-90FE-90F9586F920D}"/>
          </ac:grpSpMkLst>
        </pc:grpChg>
        <pc:grpChg chg="mod">
          <ac:chgData name="Barbara Schindler" userId="fa289460-f641-4c09-a7ed-c30ef1a3a221" providerId="ADAL" clId="{30FB7D48-16C7-43D3-9A3E-873933065505}" dt="2021-03-15T12:38:52.876" v="443" actId="962"/>
          <ac:grpSpMkLst>
            <pc:docMk/>
            <pc:sldMk cId="452406748" sldId="472"/>
            <ac:grpSpMk id="234" creationId="{C711CA1C-6238-4D83-9531-33100BE3D192}"/>
          </ac:grpSpMkLst>
        </pc:grpChg>
        <pc:grpChg chg="mod">
          <ac:chgData name="Barbara Schindler" userId="fa289460-f641-4c09-a7ed-c30ef1a3a221" providerId="ADAL" clId="{30FB7D48-16C7-43D3-9A3E-873933065505}" dt="2021-03-15T12:38:52.876" v="443" actId="962"/>
          <ac:grpSpMkLst>
            <pc:docMk/>
            <pc:sldMk cId="452406748" sldId="472"/>
            <ac:grpSpMk id="261" creationId="{B7F81B69-0687-4F6D-8BDB-84911A18762F}"/>
          </ac:grpSpMkLst>
        </pc:grpChg>
        <pc:grpChg chg="mod">
          <ac:chgData name="Barbara Schindler" userId="fa289460-f641-4c09-a7ed-c30ef1a3a221" providerId="ADAL" clId="{30FB7D48-16C7-43D3-9A3E-873933065505}" dt="2021-03-15T12:38:52.876" v="443" actId="962"/>
          <ac:grpSpMkLst>
            <pc:docMk/>
            <pc:sldMk cId="452406748" sldId="472"/>
            <ac:grpSpMk id="278" creationId="{CD2BA03D-EA2C-4168-9F4D-3B4D36ABFA84}"/>
          </ac:grpSpMkLst>
        </pc:grpChg>
        <pc:grpChg chg="mod">
          <ac:chgData name="Barbara Schindler" userId="fa289460-f641-4c09-a7ed-c30ef1a3a221" providerId="ADAL" clId="{30FB7D48-16C7-43D3-9A3E-873933065505}" dt="2021-03-15T12:38:52.876" v="443" actId="962"/>
          <ac:grpSpMkLst>
            <pc:docMk/>
            <pc:sldMk cId="452406748" sldId="472"/>
            <ac:grpSpMk id="284" creationId="{EC0339E0-CC39-4500-AEFA-1106505376DD}"/>
          </ac:grpSpMkLst>
        </pc:grpChg>
        <pc:grpChg chg="mod">
          <ac:chgData name="Barbara Schindler" userId="fa289460-f641-4c09-a7ed-c30ef1a3a221" providerId="ADAL" clId="{30FB7D48-16C7-43D3-9A3E-873933065505}" dt="2021-03-15T12:38:52.876" v="443" actId="962"/>
          <ac:grpSpMkLst>
            <pc:docMk/>
            <pc:sldMk cId="452406748" sldId="472"/>
            <ac:grpSpMk id="285" creationId="{F4820174-DA32-4DDE-8C19-2AA33DFB2419}"/>
          </ac:grpSpMkLst>
        </pc:grpChg>
        <pc:grpChg chg="mod">
          <ac:chgData name="Barbara Schindler" userId="fa289460-f641-4c09-a7ed-c30ef1a3a221" providerId="ADAL" clId="{30FB7D48-16C7-43D3-9A3E-873933065505}" dt="2021-03-15T12:38:52.876" v="443" actId="962"/>
          <ac:grpSpMkLst>
            <pc:docMk/>
            <pc:sldMk cId="452406748" sldId="472"/>
            <ac:grpSpMk id="289" creationId="{429AD352-0486-495B-959E-B3EED03813AC}"/>
          </ac:grpSpMkLst>
        </pc:grpChg>
        <pc:grpChg chg="mod">
          <ac:chgData name="Barbara Schindler" userId="fa289460-f641-4c09-a7ed-c30ef1a3a221" providerId="ADAL" clId="{30FB7D48-16C7-43D3-9A3E-873933065505}" dt="2021-03-15T12:38:52.876" v="443" actId="962"/>
          <ac:grpSpMkLst>
            <pc:docMk/>
            <pc:sldMk cId="452406748" sldId="472"/>
            <ac:grpSpMk id="290" creationId="{68D138B4-CCAD-4ED9-8F40-5A240B49FD4D}"/>
          </ac:grpSpMkLst>
        </pc:grpChg>
        <pc:grpChg chg="mod">
          <ac:chgData name="Barbara Schindler" userId="fa289460-f641-4c09-a7ed-c30ef1a3a221" providerId="ADAL" clId="{30FB7D48-16C7-43D3-9A3E-873933065505}" dt="2021-03-15T12:38:52.876" v="443" actId="962"/>
          <ac:grpSpMkLst>
            <pc:docMk/>
            <pc:sldMk cId="452406748" sldId="472"/>
            <ac:grpSpMk id="291" creationId="{95DDDFCE-E51F-43AA-A8C1-2E092661E3C0}"/>
          </ac:grpSpMkLst>
        </pc:grpChg>
      </pc:sldChg>
      <pc:sldChg chg="addSp delSp modSp mod modAnim">
        <pc:chgData name="Barbara Schindler" userId="fa289460-f641-4c09-a7ed-c30ef1a3a221" providerId="ADAL" clId="{30FB7D48-16C7-43D3-9A3E-873933065505}" dt="2021-03-15T12:37:43.308" v="265" actId="962"/>
        <pc:sldMkLst>
          <pc:docMk/>
          <pc:sldMk cId="1697089597" sldId="496"/>
        </pc:sldMkLst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4" creationId="{9324F20A-C92B-485A-BA46-E747DD8D88B0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6" creationId="{6DF152BA-2EE1-4C40-9CFB-CE984DAFE919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9" creationId="{363F9866-0BDA-4DDE-A53F-43E9E4433E41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37" creationId="{8B8D74D1-171E-4DA8-8F23-D7E5F3C733BA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38" creationId="{8E29641A-B72F-4FBB-A5F0-4585719D8BE7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39" creationId="{728B6AC7-4EB9-4FB5-AF7D-182933945F1E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40" creationId="{40526AF8-58B9-479B-87E6-F6CE4DC63008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41" creationId="{77F927C0-9A6F-4138-88A4-FE6ADDD60E14}"/>
          </ac:spMkLst>
        </pc:spChg>
        <pc:spChg chg="add mod">
          <ac:chgData name="Barbara Schindler" userId="fa289460-f641-4c09-a7ed-c30ef1a3a221" providerId="ADAL" clId="{30FB7D48-16C7-43D3-9A3E-873933065505}" dt="2021-03-15T10:04:30.462" v="92" actId="164"/>
          <ac:spMkLst>
            <pc:docMk/>
            <pc:sldMk cId="1697089597" sldId="496"/>
            <ac:spMk id="242" creationId="{9821A3F4-8049-4390-838E-359D01BA2F26}"/>
          </ac:spMkLst>
        </pc:spChg>
        <pc:spChg chg="mod or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44" creationId="{8A475555-81B0-4D86-85A1-D5801E9056F3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45" creationId="{A58D8DB5-1E6F-4194-BD99-72238D883191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46" creationId="{473AADD0-D720-4364-80E6-38912EFDD889}"/>
          </ac:spMkLst>
        </pc:spChg>
        <pc:spChg chg="mod">
          <ac:chgData name="Barbara Schindler" userId="fa289460-f641-4c09-a7ed-c30ef1a3a221" providerId="ADAL" clId="{30FB7D48-16C7-43D3-9A3E-873933065505}" dt="2021-03-15T09:50:39.709" v="31" actId="20577"/>
          <ac:spMkLst>
            <pc:docMk/>
            <pc:sldMk cId="1697089597" sldId="496"/>
            <ac:spMk id="247" creationId="{C6D25E3C-2AE3-4C1C-878B-37A3E925EA6C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48" creationId="{6E72D236-8796-41DD-B68A-88AD23F2C41E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49" creationId="{CB8BF72F-3A55-4843-B951-C27180345A10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52" creationId="{494B378C-219A-42AA-B5AD-25A86F8A59BD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53" creationId="{DCDADA88-BCDD-4B4C-A2C2-4A31D1C8B530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54" creationId="{A98061C5-FA31-412F-9009-9FC9D0A265C3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55" creationId="{CE55D413-A97E-4AD4-AF04-55776118D490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58" creationId="{14BF1DCF-1424-4FAE-B03A-1DF2BECEF7DC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62" creationId="{AB24A37B-BD17-4272-AAB8-5FE5A19F2D7A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63" creationId="{92D23631-7654-48BF-9685-0C732F06C2FD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64" creationId="{E1BFD2D8-7E2E-4DC9-A6C0-375F0BD53882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65" creationId="{68370208-17CC-43AD-9ABD-72369B9B1AC3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66" creationId="{A0E01419-72BE-467D-A319-4915E774FAB1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67" creationId="{29D5921D-E7D6-46C1-BA24-FFA2B0BD4943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68" creationId="{D4BA525C-4F31-43EF-BC20-FCBDA6B10F53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69" creationId="{3888609B-201A-4DB9-AB8A-A7F57988DE79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270" creationId="{3E8B0A9A-44D6-433E-A728-8D899FE94A24}"/>
          </ac:spMkLst>
        </pc:spChg>
        <pc:spChg chg="mod">
          <ac:chgData name="Barbara Schindler" userId="fa289460-f641-4c09-a7ed-c30ef1a3a221" providerId="ADAL" clId="{30FB7D48-16C7-43D3-9A3E-873933065505}" dt="2021-03-15T12:37:43.308" v="265" actId="962"/>
          <ac:spMkLst>
            <pc:docMk/>
            <pc:sldMk cId="1697089597" sldId="496"/>
            <ac:spMk id="467" creationId="{6DAC6F04-5C9F-4349-9104-9B9D9DF2C3FC}"/>
          </ac:spMkLst>
        </pc:spChg>
        <pc:grpChg chg="mod">
          <ac:chgData name="Barbara Schindler" userId="fa289460-f641-4c09-a7ed-c30ef1a3a221" providerId="ADAL" clId="{30FB7D48-16C7-43D3-9A3E-873933065505}" dt="2021-03-15T12:37:43.308" v="265" actId="962"/>
          <ac:grpSpMkLst>
            <pc:docMk/>
            <pc:sldMk cId="1697089597" sldId="496"/>
            <ac:grpSpMk id="2" creationId="{9CFFAB67-3702-404E-A500-07C3721764C3}"/>
          </ac:grpSpMkLst>
        </pc:grpChg>
        <pc:grpChg chg="add del mod">
          <ac:chgData name="Barbara Schindler" userId="fa289460-f641-4c09-a7ed-c30ef1a3a221" providerId="ADAL" clId="{30FB7D48-16C7-43D3-9A3E-873933065505}" dt="2021-03-15T10:04:49.842" v="107" actId="478"/>
          <ac:grpSpMkLst>
            <pc:docMk/>
            <pc:sldMk cId="1697089597" sldId="496"/>
            <ac:grpSpMk id="7" creationId="{424CC143-E8A8-4636-8522-2F3AE58D6FBA}"/>
          </ac:grpSpMkLst>
        </pc:grpChg>
        <pc:grpChg chg="mod">
          <ac:chgData name="Barbara Schindler" userId="fa289460-f641-4c09-a7ed-c30ef1a3a221" providerId="ADAL" clId="{30FB7D48-16C7-43D3-9A3E-873933065505}" dt="2021-03-15T12:37:43.308" v="265" actId="962"/>
          <ac:grpSpMkLst>
            <pc:docMk/>
            <pc:sldMk cId="1697089597" sldId="496"/>
            <ac:grpSpMk id="8" creationId="{71477022-28E4-4A9B-936D-D2813A2F3D7F}"/>
          </ac:grpSpMkLst>
        </pc:grpChg>
        <pc:grpChg chg="mod">
          <ac:chgData name="Barbara Schindler" userId="fa289460-f641-4c09-a7ed-c30ef1a3a221" providerId="ADAL" clId="{30FB7D48-16C7-43D3-9A3E-873933065505}" dt="2021-03-15T12:37:43.308" v="265" actId="962"/>
          <ac:grpSpMkLst>
            <pc:docMk/>
            <pc:sldMk cId="1697089597" sldId="496"/>
            <ac:grpSpMk id="17" creationId="{2E8AEC2B-DB3C-46E7-A432-9B5A74B839CF}"/>
          </ac:grpSpMkLst>
        </pc:grpChg>
        <pc:grpChg chg="mod">
          <ac:chgData name="Barbara Schindler" userId="fa289460-f641-4c09-a7ed-c30ef1a3a221" providerId="ADAL" clId="{30FB7D48-16C7-43D3-9A3E-873933065505}" dt="2021-03-15T12:37:43.308" v="265" actId="962"/>
          <ac:grpSpMkLst>
            <pc:docMk/>
            <pc:sldMk cId="1697089597" sldId="496"/>
            <ac:grpSpMk id="271" creationId="{2695D91D-212E-458E-A91C-A6B9B0530E92}"/>
          </ac:grpSpMkLst>
        </pc:grpChg>
        <pc:picChg chg="add del mod">
          <ac:chgData name="Barbara Schindler" userId="fa289460-f641-4c09-a7ed-c30ef1a3a221" providerId="ADAL" clId="{30FB7D48-16C7-43D3-9A3E-873933065505}" dt="2021-03-15T10:01:40.486" v="90" actId="478"/>
          <ac:picMkLst>
            <pc:docMk/>
            <pc:sldMk cId="1697089597" sldId="496"/>
            <ac:picMk id="5" creationId="{00C001E2-E204-4EE6-B8B7-725AC64D22CF}"/>
          </ac:picMkLst>
        </pc:picChg>
        <pc:picChg chg="add mod">
          <ac:chgData name="Barbara Schindler" userId="fa289460-f641-4c09-a7ed-c30ef1a3a221" providerId="ADAL" clId="{30FB7D48-16C7-43D3-9A3E-873933065505}" dt="2021-03-15T10:04:30.462" v="92" actId="164"/>
          <ac:picMkLst>
            <pc:docMk/>
            <pc:sldMk cId="1697089597" sldId="496"/>
            <ac:picMk id="243" creationId="{3C1255CB-46B5-454E-B52E-07454F23CA23}"/>
          </ac:picMkLst>
        </pc:picChg>
      </pc:sldChg>
      <pc:sldChg chg="modSp">
        <pc:chgData name="Barbara Schindler" userId="fa289460-f641-4c09-a7ed-c30ef1a3a221" providerId="ADAL" clId="{30FB7D48-16C7-43D3-9A3E-873933065505}" dt="2021-03-15T12:37:29.804" v="239" actId="962"/>
        <pc:sldMkLst>
          <pc:docMk/>
          <pc:sldMk cId="3865055406" sldId="497"/>
        </pc:sldMkLst>
        <pc:spChg chg="mod">
          <ac:chgData name="Barbara Schindler" userId="fa289460-f641-4c09-a7ed-c30ef1a3a221" providerId="ADAL" clId="{30FB7D48-16C7-43D3-9A3E-873933065505}" dt="2021-03-15T12:37:29.804" v="239" actId="962"/>
          <ac:spMkLst>
            <pc:docMk/>
            <pc:sldMk cId="3865055406" sldId="497"/>
            <ac:spMk id="34" creationId="{9F16D024-BAB9-4760-9F92-A041FBACA0DC}"/>
          </ac:spMkLst>
        </pc:spChg>
        <pc:spChg chg="mod">
          <ac:chgData name="Barbara Schindler" userId="fa289460-f641-4c09-a7ed-c30ef1a3a221" providerId="ADAL" clId="{30FB7D48-16C7-43D3-9A3E-873933065505}" dt="2021-03-15T12:37:29.804" v="239" actId="962"/>
          <ac:spMkLst>
            <pc:docMk/>
            <pc:sldMk cId="3865055406" sldId="497"/>
            <ac:spMk id="36" creationId="{ED13E006-1C20-4DD7-ABB2-F0878CE37C1B}"/>
          </ac:spMkLst>
        </pc:spChg>
        <pc:spChg chg="mod">
          <ac:chgData name="Barbara Schindler" userId="fa289460-f641-4c09-a7ed-c30ef1a3a221" providerId="ADAL" clId="{30FB7D48-16C7-43D3-9A3E-873933065505}" dt="2021-03-15T12:37:29.804" v="239" actId="962"/>
          <ac:spMkLst>
            <pc:docMk/>
            <pc:sldMk cId="3865055406" sldId="497"/>
            <ac:spMk id="46" creationId="{81447110-7BBE-42B9-AFB1-8FA70FBB3186}"/>
          </ac:spMkLst>
        </pc:spChg>
        <pc:spChg chg="mod">
          <ac:chgData name="Barbara Schindler" userId="fa289460-f641-4c09-a7ed-c30ef1a3a221" providerId="ADAL" clId="{30FB7D48-16C7-43D3-9A3E-873933065505}" dt="2021-03-15T12:37:29.804" v="239" actId="962"/>
          <ac:spMkLst>
            <pc:docMk/>
            <pc:sldMk cId="3865055406" sldId="497"/>
            <ac:spMk id="74" creationId="{9B056D30-008E-423F-BB47-04B24B1E5241}"/>
          </ac:spMkLst>
        </pc:spChg>
        <pc:grpChg chg="mod">
          <ac:chgData name="Barbara Schindler" userId="fa289460-f641-4c09-a7ed-c30ef1a3a221" providerId="ADAL" clId="{30FB7D48-16C7-43D3-9A3E-873933065505}" dt="2021-03-15T12:37:29.804" v="239" actId="962"/>
          <ac:grpSpMkLst>
            <pc:docMk/>
            <pc:sldMk cId="3865055406" sldId="497"/>
            <ac:grpSpMk id="8" creationId="{B54ECACB-1CB2-49F6-8E07-C0CBCB712F09}"/>
          </ac:grpSpMkLst>
        </pc:grpChg>
        <pc:grpChg chg="mod">
          <ac:chgData name="Barbara Schindler" userId="fa289460-f641-4c09-a7ed-c30ef1a3a221" providerId="ADAL" clId="{30FB7D48-16C7-43D3-9A3E-873933065505}" dt="2021-03-15T12:37:29.804" v="239" actId="962"/>
          <ac:grpSpMkLst>
            <pc:docMk/>
            <pc:sldMk cId="3865055406" sldId="497"/>
            <ac:grpSpMk id="47" creationId="{A91B40F7-2850-452B-98D3-9051779A47B4}"/>
          </ac:grpSpMkLst>
        </pc:grpChg>
        <pc:grpChg chg="mod">
          <ac:chgData name="Barbara Schindler" userId="fa289460-f641-4c09-a7ed-c30ef1a3a221" providerId="ADAL" clId="{30FB7D48-16C7-43D3-9A3E-873933065505}" dt="2021-03-15T12:37:29.804" v="239" actId="962"/>
          <ac:grpSpMkLst>
            <pc:docMk/>
            <pc:sldMk cId="3865055406" sldId="497"/>
            <ac:grpSpMk id="50" creationId="{0A2837D8-065A-4F56-A44F-B2D45184E07A}"/>
          </ac:grpSpMkLst>
        </pc:grpChg>
        <pc:grpChg chg="mod">
          <ac:chgData name="Barbara Schindler" userId="fa289460-f641-4c09-a7ed-c30ef1a3a221" providerId="ADAL" clId="{30FB7D48-16C7-43D3-9A3E-873933065505}" dt="2021-03-15T12:37:29.804" v="239" actId="962"/>
          <ac:grpSpMkLst>
            <pc:docMk/>
            <pc:sldMk cId="3865055406" sldId="497"/>
            <ac:grpSpMk id="133" creationId="{473E191B-7883-447F-98DC-8371F0C09193}"/>
          </ac:grpSpMkLst>
        </pc:grpChg>
        <pc:cxnChg chg="mod">
          <ac:chgData name="Barbara Schindler" userId="fa289460-f641-4c09-a7ed-c30ef1a3a221" providerId="ADAL" clId="{30FB7D48-16C7-43D3-9A3E-873933065505}" dt="2021-03-15T12:37:29.804" v="239" actId="962"/>
          <ac:cxnSpMkLst>
            <pc:docMk/>
            <pc:sldMk cId="3865055406" sldId="497"/>
            <ac:cxnSpMk id="7" creationId="{CB4082AB-71BA-4A7F-B3B1-C19170A9BA22}"/>
          </ac:cxnSpMkLst>
        </pc:cxnChg>
      </pc:sldChg>
      <pc:sldChg chg="modSp">
        <pc:chgData name="Barbara Schindler" userId="fa289460-f641-4c09-a7ed-c30ef1a3a221" providerId="ADAL" clId="{30FB7D48-16C7-43D3-9A3E-873933065505}" dt="2021-03-15T12:39:00.079" v="461" actId="962"/>
        <pc:sldMkLst>
          <pc:docMk/>
          <pc:sldMk cId="1097855052" sldId="503"/>
        </pc:sldMkLst>
        <pc:spChg chg="mod">
          <ac:chgData name="Barbara Schindler" userId="fa289460-f641-4c09-a7ed-c30ef1a3a221" providerId="ADAL" clId="{30FB7D48-16C7-43D3-9A3E-873933065505}" dt="2021-03-15T12:39:00.079" v="461" actId="962"/>
          <ac:spMkLst>
            <pc:docMk/>
            <pc:sldMk cId="1097855052" sldId="503"/>
            <ac:spMk id="4" creationId="{992726EB-0FFB-486F-A8D8-61F71B8BD2C0}"/>
          </ac:spMkLst>
        </pc:spChg>
        <pc:spChg chg="mod">
          <ac:chgData name="Barbara Schindler" userId="fa289460-f641-4c09-a7ed-c30ef1a3a221" providerId="ADAL" clId="{30FB7D48-16C7-43D3-9A3E-873933065505}" dt="2021-03-15T12:39:00.079" v="461" actId="962"/>
          <ac:spMkLst>
            <pc:docMk/>
            <pc:sldMk cId="1097855052" sldId="503"/>
            <ac:spMk id="184" creationId="{AFB3CE86-7C69-4BB8-A4E0-8F12441DA4FA}"/>
          </ac:spMkLst>
        </pc:spChg>
        <pc:spChg chg="mod">
          <ac:chgData name="Barbara Schindler" userId="fa289460-f641-4c09-a7ed-c30ef1a3a221" providerId="ADAL" clId="{30FB7D48-16C7-43D3-9A3E-873933065505}" dt="2021-03-15T12:39:00.079" v="461" actId="962"/>
          <ac:spMkLst>
            <pc:docMk/>
            <pc:sldMk cId="1097855052" sldId="503"/>
            <ac:spMk id="186" creationId="{0B2F1BAD-2297-4428-84C8-83B42A01F147}"/>
          </ac:spMkLst>
        </pc:spChg>
        <pc:spChg chg="mod">
          <ac:chgData name="Barbara Schindler" userId="fa289460-f641-4c09-a7ed-c30ef1a3a221" providerId="ADAL" clId="{30FB7D48-16C7-43D3-9A3E-873933065505}" dt="2021-03-15T12:39:00.079" v="461" actId="962"/>
          <ac:spMkLst>
            <pc:docMk/>
            <pc:sldMk cId="1097855052" sldId="503"/>
            <ac:spMk id="208" creationId="{17FE3D7C-A352-4C47-88FC-A6608E2E2CF0}"/>
          </ac:spMkLst>
        </pc:spChg>
        <pc:spChg chg="mod">
          <ac:chgData name="Barbara Schindler" userId="fa289460-f641-4c09-a7ed-c30ef1a3a221" providerId="ADAL" clId="{30FB7D48-16C7-43D3-9A3E-873933065505}" dt="2021-03-15T12:39:00.079" v="461" actId="962"/>
          <ac:spMkLst>
            <pc:docMk/>
            <pc:sldMk cId="1097855052" sldId="503"/>
            <ac:spMk id="230" creationId="{FF41811E-A9F4-45F4-B316-11808FD5CD58}"/>
          </ac:spMkLst>
        </pc:spChg>
        <pc:spChg chg="mod">
          <ac:chgData name="Barbara Schindler" userId="fa289460-f641-4c09-a7ed-c30ef1a3a221" providerId="ADAL" clId="{30FB7D48-16C7-43D3-9A3E-873933065505}" dt="2021-03-15T12:39:00.079" v="461" actId="962"/>
          <ac:spMkLst>
            <pc:docMk/>
            <pc:sldMk cId="1097855052" sldId="503"/>
            <ac:spMk id="231" creationId="{675CDD48-39A0-4549-8513-F314B4454E07}"/>
          </ac:spMkLst>
        </pc:spChg>
        <pc:spChg chg="mod">
          <ac:chgData name="Barbara Schindler" userId="fa289460-f641-4c09-a7ed-c30ef1a3a221" providerId="ADAL" clId="{30FB7D48-16C7-43D3-9A3E-873933065505}" dt="2021-03-15T12:39:00.079" v="461" actId="962"/>
          <ac:spMkLst>
            <pc:docMk/>
            <pc:sldMk cId="1097855052" sldId="503"/>
            <ac:spMk id="232" creationId="{9D2E6D45-13FF-4908-AB54-EFA0976F8FE2}"/>
          </ac:spMkLst>
        </pc:spChg>
        <pc:spChg chg="mod">
          <ac:chgData name="Barbara Schindler" userId="fa289460-f641-4c09-a7ed-c30ef1a3a221" providerId="ADAL" clId="{30FB7D48-16C7-43D3-9A3E-873933065505}" dt="2021-03-15T12:39:00.079" v="461" actId="962"/>
          <ac:spMkLst>
            <pc:docMk/>
            <pc:sldMk cId="1097855052" sldId="503"/>
            <ac:spMk id="233" creationId="{B8A654B7-2C45-428A-92BC-1CC04DC0842B}"/>
          </ac:spMkLst>
        </pc:spChg>
        <pc:spChg chg="mod">
          <ac:chgData name="Barbara Schindler" userId="fa289460-f641-4c09-a7ed-c30ef1a3a221" providerId="ADAL" clId="{30FB7D48-16C7-43D3-9A3E-873933065505}" dt="2021-03-15T12:39:00.079" v="461" actId="962"/>
          <ac:spMkLst>
            <pc:docMk/>
            <pc:sldMk cId="1097855052" sldId="503"/>
            <ac:spMk id="251" creationId="{223461F2-FC44-4471-804D-3950540B042F}"/>
          </ac:spMkLst>
        </pc:spChg>
        <pc:grpChg chg="mod">
          <ac:chgData name="Barbara Schindler" userId="fa289460-f641-4c09-a7ed-c30ef1a3a221" providerId="ADAL" clId="{30FB7D48-16C7-43D3-9A3E-873933065505}" dt="2021-03-15T12:39:00.079" v="461" actId="962"/>
          <ac:grpSpMkLst>
            <pc:docMk/>
            <pc:sldMk cId="1097855052" sldId="503"/>
            <ac:grpSpMk id="5" creationId="{F9E14AA9-3AC8-4B25-96EE-4A3D7C18525D}"/>
          </ac:grpSpMkLst>
        </pc:grpChg>
        <pc:grpChg chg="mod">
          <ac:chgData name="Barbara Schindler" userId="fa289460-f641-4c09-a7ed-c30ef1a3a221" providerId="ADAL" clId="{30FB7D48-16C7-43D3-9A3E-873933065505}" dt="2021-03-15T12:39:00.079" v="461" actId="962"/>
          <ac:grpSpMkLst>
            <pc:docMk/>
            <pc:sldMk cId="1097855052" sldId="503"/>
            <ac:grpSpMk id="6" creationId="{F127B36A-136A-42FE-8EBD-3CF6FF3BB1FE}"/>
          </ac:grpSpMkLst>
        </pc:grpChg>
        <pc:grpChg chg="mod">
          <ac:chgData name="Barbara Schindler" userId="fa289460-f641-4c09-a7ed-c30ef1a3a221" providerId="ADAL" clId="{30FB7D48-16C7-43D3-9A3E-873933065505}" dt="2021-03-15T12:39:00.079" v="461" actId="962"/>
          <ac:grpSpMkLst>
            <pc:docMk/>
            <pc:sldMk cId="1097855052" sldId="503"/>
            <ac:grpSpMk id="7" creationId="{17141C8E-77A5-4C9A-8079-9BD4554802C7}"/>
          </ac:grpSpMkLst>
        </pc:grpChg>
        <pc:grpChg chg="mod">
          <ac:chgData name="Barbara Schindler" userId="fa289460-f641-4c09-a7ed-c30ef1a3a221" providerId="ADAL" clId="{30FB7D48-16C7-43D3-9A3E-873933065505}" dt="2021-03-15T12:39:00.079" v="461" actId="962"/>
          <ac:grpSpMkLst>
            <pc:docMk/>
            <pc:sldMk cId="1097855052" sldId="503"/>
            <ac:grpSpMk id="8" creationId="{2FDECB86-FDCA-4F1C-9830-B148ED7AAC7F}"/>
          </ac:grpSpMkLst>
        </pc:grpChg>
        <pc:grpChg chg="mod">
          <ac:chgData name="Barbara Schindler" userId="fa289460-f641-4c09-a7ed-c30ef1a3a221" providerId="ADAL" clId="{30FB7D48-16C7-43D3-9A3E-873933065505}" dt="2021-03-15T12:39:00.079" v="461" actId="962"/>
          <ac:grpSpMkLst>
            <pc:docMk/>
            <pc:sldMk cId="1097855052" sldId="503"/>
            <ac:grpSpMk id="115" creationId="{5EC475CD-C41B-4A51-B80E-73251FFE5F4C}"/>
          </ac:grpSpMkLst>
        </pc:grpChg>
        <pc:grpChg chg="mod">
          <ac:chgData name="Barbara Schindler" userId="fa289460-f641-4c09-a7ed-c30ef1a3a221" providerId="ADAL" clId="{30FB7D48-16C7-43D3-9A3E-873933065505}" dt="2021-03-15T12:39:00.079" v="461" actId="962"/>
          <ac:grpSpMkLst>
            <pc:docMk/>
            <pc:sldMk cId="1097855052" sldId="503"/>
            <ac:grpSpMk id="122" creationId="{29C820A1-948C-4EA1-9AD4-7729569C8EA4}"/>
          </ac:grpSpMkLst>
        </pc:grpChg>
        <pc:grpChg chg="mod">
          <ac:chgData name="Barbara Schindler" userId="fa289460-f641-4c09-a7ed-c30ef1a3a221" providerId="ADAL" clId="{30FB7D48-16C7-43D3-9A3E-873933065505}" dt="2021-03-15T12:39:00.079" v="461" actId="962"/>
          <ac:grpSpMkLst>
            <pc:docMk/>
            <pc:sldMk cId="1097855052" sldId="503"/>
            <ac:grpSpMk id="175" creationId="{0DD4FF0E-0CDA-43C2-9E39-1FBB0068425C}"/>
          </ac:grpSpMkLst>
        </pc:grpChg>
        <pc:grpChg chg="mod">
          <ac:chgData name="Barbara Schindler" userId="fa289460-f641-4c09-a7ed-c30ef1a3a221" providerId="ADAL" clId="{30FB7D48-16C7-43D3-9A3E-873933065505}" dt="2021-03-15T12:39:00.079" v="461" actId="962"/>
          <ac:grpSpMkLst>
            <pc:docMk/>
            <pc:sldMk cId="1097855052" sldId="503"/>
            <ac:grpSpMk id="188" creationId="{CC546835-7A6E-4841-90FE-90F9586F920D}"/>
          </ac:grpSpMkLst>
        </pc:grpChg>
        <pc:grpChg chg="mod">
          <ac:chgData name="Barbara Schindler" userId="fa289460-f641-4c09-a7ed-c30ef1a3a221" providerId="ADAL" clId="{30FB7D48-16C7-43D3-9A3E-873933065505}" dt="2021-03-15T12:39:00.079" v="461" actId="962"/>
          <ac:grpSpMkLst>
            <pc:docMk/>
            <pc:sldMk cId="1097855052" sldId="503"/>
            <ac:grpSpMk id="284" creationId="{EC0339E0-CC39-4500-AEFA-1106505376DD}"/>
          </ac:grpSpMkLst>
        </pc:grpChg>
        <pc:grpChg chg="mod">
          <ac:chgData name="Barbara Schindler" userId="fa289460-f641-4c09-a7ed-c30ef1a3a221" providerId="ADAL" clId="{30FB7D48-16C7-43D3-9A3E-873933065505}" dt="2021-03-15T12:39:00.079" v="461" actId="962"/>
          <ac:grpSpMkLst>
            <pc:docMk/>
            <pc:sldMk cId="1097855052" sldId="503"/>
            <ac:grpSpMk id="285" creationId="{F4820174-DA32-4DDE-8C19-2AA33DFB2419}"/>
          </ac:grpSpMkLst>
        </pc:grpChg>
        <pc:grpChg chg="mod">
          <ac:chgData name="Barbara Schindler" userId="fa289460-f641-4c09-a7ed-c30ef1a3a221" providerId="ADAL" clId="{30FB7D48-16C7-43D3-9A3E-873933065505}" dt="2021-03-15T12:39:00.079" v="461" actId="962"/>
          <ac:grpSpMkLst>
            <pc:docMk/>
            <pc:sldMk cId="1097855052" sldId="503"/>
            <ac:grpSpMk id="290" creationId="{68D138B4-CCAD-4ED9-8F40-5A240B49FD4D}"/>
          </ac:grpSpMkLst>
        </pc:grpChg>
        <pc:grpChg chg="mod">
          <ac:chgData name="Barbara Schindler" userId="fa289460-f641-4c09-a7ed-c30ef1a3a221" providerId="ADAL" clId="{30FB7D48-16C7-43D3-9A3E-873933065505}" dt="2021-03-15T12:39:00.079" v="461" actId="962"/>
          <ac:grpSpMkLst>
            <pc:docMk/>
            <pc:sldMk cId="1097855052" sldId="503"/>
            <ac:grpSpMk id="291" creationId="{95DDDFCE-E51F-43AA-A8C1-2E092661E3C0}"/>
          </ac:grpSpMkLst>
        </pc:grpChg>
      </pc:sldChg>
      <pc:sldChg chg="modSp">
        <pc:chgData name="Barbara Schindler" userId="fa289460-f641-4c09-a7ed-c30ef1a3a221" providerId="ADAL" clId="{30FB7D48-16C7-43D3-9A3E-873933065505}" dt="2021-03-15T12:38:46.698" v="421" actId="962"/>
        <pc:sldMkLst>
          <pc:docMk/>
          <pc:sldMk cId="811946897" sldId="504"/>
        </pc:sldMkLst>
        <pc:spChg chg="mod">
          <ac:chgData name="Barbara Schindler" userId="fa289460-f641-4c09-a7ed-c30ef1a3a221" providerId="ADAL" clId="{30FB7D48-16C7-43D3-9A3E-873933065505}" dt="2021-03-15T12:38:46.698" v="421" actId="962"/>
          <ac:spMkLst>
            <pc:docMk/>
            <pc:sldMk cId="811946897" sldId="504"/>
            <ac:spMk id="4" creationId="{992726EB-0FFB-486F-A8D8-61F71B8BD2C0}"/>
          </ac:spMkLst>
        </pc:spChg>
        <pc:spChg chg="mod">
          <ac:chgData name="Barbara Schindler" userId="fa289460-f641-4c09-a7ed-c30ef1a3a221" providerId="ADAL" clId="{30FB7D48-16C7-43D3-9A3E-873933065505}" dt="2021-03-15T12:38:46.698" v="421" actId="962"/>
          <ac:spMkLst>
            <pc:docMk/>
            <pc:sldMk cId="811946897" sldId="504"/>
            <ac:spMk id="166" creationId="{989CA43B-6CA4-4A1C-83E5-6CD8576A8421}"/>
          </ac:spMkLst>
        </pc:spChg>
        <pc:spChg chg="mod">
          <ac:chgData name="Barbara Schindler" userId="fa289460-f641-4c09-a7ed-c30ef1a3a221" providerId="ADAL" clId="{30FB7D48-16C7-43D3-9A3E-873933065505}" dt="2021-03-15T12:38:46.698" v="421" actId="962"/>
          <ac:spMkLst>
            <pc:docMk/>
            <pc:sldMk cId="811946897" sldId="504"/>
            <ac:spMk id="167" creationId="{F2626873-6FA5-45F9-864F-CF301224503E}"/>
          </ac:spMkLst>
        </pc:spChg>
        <pc:spChg chg="mod">
          <ac:chgData name="Barbara Schindler" userId="fa289460-f641-4c09-a7ed-c30ef1a3a221" providerId="ADAL" clId="{30FB7D48-16C7-43D3-9A3E-873933065505}" dt="2021-03-15T12:38:46.698" v="421" actId="962"/>
          <ac:spMkLst>
            <pc:docMk/>
            <pc:sldMk cId="811946897" sldId="504"/>
            <ac:spMk id="184" creationId="{AFB3CE86-7C69-4BB8-A4E0-8F12441DA4FA}"/>
          </ac:spMkLst>
        </pc:spChg>
        <pc:grpChg chg="mod">
          <ac:chgData name="Barbara Schindler" userId="fa289460-f641-4c09-a7ed-c30ef1a3a221" providerId="ADAL" clId="{30FB7D48-16C7-43D3-9A3E-873933065505}" dt="2021-03-15T12:38:46.698" v="421" actId="962"/>
          <ac:grpSpMkLst>
            <pc:docMk/>
            <pc:sldMk cId="811946897" sldId="504"/>
            <ac:grpSpMk id="9" creationId="{90D35291-01A4-4BAF-8FF3-1F9795DEC3A2}"/>
          </ac:grpSpMkLst>
        </pc:grpChg>
        <pc:grpChg chg="mod">
          <ac:chgData name="Barbara Schindler" userId="fa289460-f641-4c09-a7ed-c30ef1a3a221" providerId="ADAL" clId="{30FB7D48-16C7-43D3-9A3E-873933065505}" dt="2021-03-15T12:38:46.698" v="421" actId="962"/>
          <ac:grpSpMkLst>
            <pc:docMk/>
            <pc:sldMk cId="811946897" sldId="504"/>
            <ac:grpSpMk id="17" creationId="{4D74EF10-6638-44BE-9BC2-3487D1291398}"/>
          </ac:grpSpMkLst>
        </pc:grpChg>
        <pc:grpChg chg="mod">
          <ac:chgData name="Barbara Schindler" userId="fa289460-f641-4c09-a7ed-c30ef1a3a221" providerId="ADAL" clId="{30FB7D48-16C7-43D3-9A3E-873933065505}" dt="2021-03-15T12:38:46.698" v="421" actId="962"/>
          <ac:grpSpMkLst>
            <pc:docMk/>
            <pc:sldMk cId="811946897" sldId="504"/>
            <ac:grpSpMk id="18" creationId="{5375C011-2A60-446B-8DD2-A352EC22DC0A}"/>
          </ac:grpSpMkLst>
        </pc:grpChg>
        <pc:grpChg chg="mod">
          <ac:chgData name="Barbara Schindler" userId="fa289460-f641-4c09-a7ed-c30ef1a3a221" providerId="ADAL" clId="{30FB7D48-16C7-43D3-9A3E-873933065505}" dt="2021-03-15T12:38:46.698" v="421" actId="962"/>
          <ac:grpSpMkLst>
            <pc:docMk/>
            <pc:sldMk cId="811946897" sldId="504"/>
            <ac:grpSpMk id="19" creationId="{E9C999B6-6F8A-4A9B-9755-0774B0E517B5}"/>
          </ac:grpSpMkLst>
        </pc:grpChg>
        <pc:grpChg chg="mod">
          <ac:chgData name="Barbara Schindler" userId="fa289460-f641-4c09-a7ed-c30ef1a3a221" providerId="ADAL" clId="{30FB7D48-16C7-43D3-9A3E-873933065505}" dt="2021-03-15T12:38:46.698" v="421" actId="962"/>
          <ac:grpSpMkLst>
            <pc:docMk/>
            <pc:sldMk cId="811946897" sldId="504"/>
            <ac:grpSpMk id="20" creationId="{2F962392-8CA8-4A1B-A73C-84687A1BC11E}"/>
          </ac:grpSpMkLst>
        </pc:grpChg>
        <pc:grpChg chg="mod">
          <ac:chgData name="Barbara Schindler" userId="fa289460-f641-4c09-a7ed-c30ef1a3a221" providerId="ADAL" clId="{30FB7D48-16C7-43D3-9A3E-873933065505}" dt="2021-03-15T12:38:46.698" v="421" actId="962"/>
          <ac:grpSpMkLst>
            <pc:docMk/>
            <pc:sldMk cId="811946897" sldId="504"/>
            <ac:grpSpMk id="122" creationId="{29C820A1-948C-4EA1-9AD4-7729569C8EA4}"/>
          </ac:grpSpMkLst>
        </pc:grpChg>
        <pc:grpChg chg="mod">
          <ac:chgData name="Barbara Schindler" userId="fa289460-f641-4c09-a7ed-c30ef1a3a221" providerId="ADAL" clId="{30FB7D48-16C7-43D3-9A3E-873933065505}" dt="2021-03-15T12:38:46.698" v="421" actId="962"/>
          <ac:grpSpMkLst>
            <pc:docMk/>
            <pc:sldMk cId="811946897" sldId="504"/>
            <ac:grpSpMk id="130" creationId="{95F15CBE-A093-477D-AACA-EC06D352B1AB}"/>
          </ac:grpSpMkLst>
        </pc:grpChg>
        <pc:grpChg chg="mod">
          <ac:chgData name="Barbara Schindler" userId="fa289460-f641-4c09-a7ed-c30ef1a3a221" providerId="ADAL" clId="{30FB7D48-16C7-43D3-9A3E-873933065505}" dt="2021-03-15T12:38:46.698" v="421" actId="962"/>
          <ac:grpSpMkLst>
            <pc:docMk/>
            <pc:sldMk cId="811946897" sldId="504"/>
            <ac:grpSpMk id="156" creationId="{2E41A02D-5BF3-4B1B-8236-1290041515E0}"/>
          </ac:grpSpMkLst>
        </pc:grpChg>
        <pc:grpChg chg="mod">
          <ac:chgData name="Barbara Schindler" userId="fa289460-f641-4c09-a7ed-c30ef1a3a221" providerId="ADAL" clId="{30FB7D48-16C7-43D3-9A3E-873933065505}" dt="2021-03-15T12:38:46.698" v="421" actId="962"/>
          <ac:grpSpMkLst>
            <pc:docMk/>
            <pc:sldMk cId="811946897" sldId="504"/>
            <ac:grpSpMk id="173" creationId="{DCE0B405-566F-4DCC-B047-7F4EDD17E853}"/>
          </ac:grpSpMkLst>
        </pc:grpChg>
        <pc:grpChg chg="mod">
          <ac:chgData name="Barbara Schindler" userId="fa289460-f641-4c09-a7ed-c30ef1a3a221" providerId="ADAL" clId="{30FB7D48-16C7-43D3-9A3E-873933065505}" dt="2021-03-15T12:38:46.698" v="421" actId="962"/>
          <ac:grpSpMkLst>
            <pc:docMk/>
            <pc:sldMk cId="811946897" sldId="504"/>
            <ac:grpSpMk id="209" creationId="{885FC033-D86A-4E8B-B339-23C471484CCB}"/>
          </ac:grpSpMkLst>
        </pc:grpChg>
        <pc:grpChg chg="mod">
          <ac:chgData name="Barbara Schindler" userId="fa289460-f641-4c09-a7ed-c30ef1a3a221" providerId="ADAL" clId="{30FB7D48-16C7-43D3-9A3E-873933065505}" dt="2021-03-15T12:38:46.698" v="421" actId="962"/>
          <ac:grpSpMkLst>
            <pc:docMk/>
            <pc:sldMk cId="811946897" sldId="504"/>
            <ac:grpSpMk id="243" creationId="{26078FCA-4881-4726-85EE-DFCB38431B11}"/>
          </ac:grpSpMkLst>
        </pc:grpChg>
        <pc:grpChg chg="mod">
          <ac:chgData name="Barbara Schindler" userId="fa289460-f641-4c09-a7ed-c30ef1a3a221" providerId="ADAL" clId="{30FB7D48-16C7-43D3-9A3E-873933065505}" dt="2021-03-15T12:38:46.698" v="421" actId="962"/>
          <ac:grpSpMkLst>
            <pc:docMk/>
            <pc:sldMk cId="811946897" sldId="504"/>
            <ac:grpSpMk id="248" creationId="{06DB3A20-4C31-4556-80F7-D4B4050E92FE}"/>
          </ac:grpSpMkLst>
        </pc:grp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136" creationId="{A04ADB78-2ED1-4B50-86AF-1538656450BD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137" creationId="{A5405506-4A0F-43ED-8588-2AADDDEE831A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154" creationId="{2B532AAE-C855-44CA-98C0-B28A33AB9D82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155" creationId="{A0D98AFA-E45F-44C8-A28A-7A5B8FB9110F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204" creationId="{AE515C3D-5133-4141-920A-923E3A6ECA6A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205" creationId="{2331EB6E-D668-40CE-82E8-27A5CB803154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207" creationId="{6E6DEC89-2B80-4991-B6DF-37999BF0C300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212" creationId="{891A1FC0-999B-461A-8B6E-9909537EF9DB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213" creationId="{375E0F88-5386-4B15-8BAD-CA114D572056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215" creationId="{4E6F795F-B4D6-4DD8-ABB7-5430D8BB025E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217" creationId="{29B1795C-FFAA-405C-8EC6-985FDC3730DF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218" creationId="{CC573B4F-B2C5-4525-BF43-EFB43C8C41F6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220" creationId="{54CC96E1-2241-4787-A4C2-863D10C1A77B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222" creationId="{31E28894-29DC-446B-94EF-DACD2EAC3CAB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223" creationId="{13A3BC05-FFF0-4A0D-BAE6-F6F605DB08D9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231" creationId="{83705D9A-87BD-4F68-B044-A2B263C8F478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232" creationId="{98687BB2-753C-446D-82E9-900FE6FF9DAA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233" creationId="{B2A0F4A0-32D2-4751-BC39-42CCAC0E1B60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236" creationId="{B2939687-4D0A-4613-945F-2EA30B43FFD2}"/>
          </ac:cxnSpMkLst>
        </pc:cxnChg>
        <pc:cxnChg chg="mod">
          <ac:chgData name="Barbara Schindler" userId="fa289460-f641-4c09-a7ed-c30ef1a3a221" providerId="ADAL" clId="{30FB7D48-16C7-43D3-9A3E-873933065505}" dt="2021-03-15T12:38:46.698" v="421" actId="962"/>
          <ac:cxnSpMkLst>
            <pc:docMk/>
            <pc:sldMk cId="811946897" sldId="504"/>
            <ac:cxnSpMk id="237" creationId="{C443F34B-5917-426A-BC7C-C50D2F0D023A}"/>
          </ac:cxnSpMkLst>
        </pc:cxnChg>
      </pc:sldChg>
      <pc:sldChg chg="modSp">
        <pc:chgData name="Barbara Schindler" userId="fa289460-f641-4c09-a7ed-c30ef1a3a221" providerId="ADAL" clId="{30FB7D48-16C7-43D3-9A3E-873933065505}" dt="2021-03-15T12:38:39.408" v="403" actId="962"/>
        <pc:sldMkLst>
          <pc:docMk/>
          <pc:sldMk cId="1417234590" sldId="505"/>
        </pc:sldMkLst>
        <pc:spChg chg="mod">
          <ac:chgData name="Barbara Schindler" userId="fa289460-f641-4c09-a7ed-c30ef1a3a221" providerId="ADAL" clId="{30FB7D48-16C7-43D3-9A3E-873933065505}" dt="2021-03-15T12:38:39.408" v="403" actId="962"/>
          <ac:spMkLst>
            <pc:docMk/>
            <pc:sldMk cId="1417234590" sldId="505"/>
            <ac:spMk id="4" creationId="{992726EB-0FFB-486F-A8D8-61F71B8BD2C0}"/>
          </ac:spMkLst>
        </pc:spChg>
        <pc:spChg chg="mod">
          <ac:chgData name="Barbara Schindler" userId="fa289460-f641-4c09-a7ed-c30ef1a3a221" providerId="ADAL" clId="{30FB7D48-16C7-43D3-9A3E-873933065505}" dt="2021-03-15T12:38:39.408" v="403" actId="962"/>
          <ac:spMkLst>
            <pc:docMk/>
            <pc:sldMk cId="1417234590" sldId="505"/>
            <ac:spMk id="159" creationId="{3ACCF1E4-84A8-4B97-AAA3-E13CC2EE4AF8}"/>
          </ac:spMkLst>
        </pc:spChg>
        <pc:spChg chg="mod">
          <ac:chgData name="Barbara Schindler" userId="fa289460-f641-4c09-a7ed-c30ef1a3a221" providerId="ADAL" clId="{30FB7D48-16C7-43D3-9A3E-873933065505}" dt="2021-03-15T12:38:39.408" v="403" actId="962"/>
          <ac:spMkLst>
            <pc:docMk/>
            <pc:sldMk cId="1417234590" sldId="505"/>
            <ac:spMk id="166" creationId="{989CA43B-6CA4-4A1C-83E5-6CD8576A8421}"/>
          </ac:spMkLst>
        </pc:spChg>
        <pc:spChg chg="mod">
          <ac:chgData name="Barbara Schindler" userId="fa289460-f641-4c09-a7ed-c30ef1a3a221" providerId="ADAL" clId="{30FB7D48-16C7-43D3-9A3E-873933065505}" dt="2021-03-15T12:38:39.408" v="403" actId="962"/>
          <ac:spMkLst>
            <pc:docMk/>
            <pc:sldMk cId="1417234590" sldId="505"/>
            <ac:spMk id="167" creationId="{F2626873-6FA5-45F9-864F-CF301224503E}"/>
          </ac:spMkLst>
        </pc:spChg>
        <pc:spChg chg="mod">
          <ac:chgData name="Barbara Schindler" userId="fa289460-f641-4c09-a7ed-c30ef1a3a221" providerId="ADAL" clId="{30FB7D48-16C7-43D3-9A3E-873933065505}" dt="2021-03-15T12:38:39.408" v="403" actId="962"/>
          <ac:spMkLst>
            <pc:docMk/>
            <pc:sldMk cId="1417234590" sldId="505"/>
            <ac:spMk id="184" creationId="{AFB3CE86-7C69-4BB8-A4E0-8F12441DA4FA}"/>
          </ac:spMkLst>
        </pc:spChg>
        <pc:grpChg chg="mod">
          <ac:chgData name="Barbara Schindler" userId="fa289460-f641-4c09-a7ed-c30ef1a3a221" providerId="ADAL" clId="{30FB7D48-16C7-43D3-9A3E-873933065505}" dt="2021-03-15T12:38:39.408" v="403" actId="962"/>
          <ac:grpSpMkLst>
            <pc:docMk/>
            <pc:sldMk cId="1417234590" sldId="505"/>
            <ac:grpSpMk id="9" creationId="{90D35291-01A4-4BAF-8FF3-1F9795DEC3A2}"/>
          </ac:grpSpMkLst>
        </pc:grpChg>
        <pc:grpChg chg="mod">
          <ac:chgData name="Barbara Schindler" userId="fa289460-f641-4c09-a7ed-c30ef1a3a221" providerId="ADAL" clId="{30FB7D48-16C7-43D3-9A3E-873933065505}" dt="2021-03-15T12:38:39.408" v="403" actId="962"/>
          <ac:grpSpMkLst>
            <pc:docMk/>
            <pc:sldMk cId="1417234590" sldId="505"/>
            <ac:grpSpMk id="17" creationId="{4D74EF10-6638-44BE-9BC2-3487D1291398}"/>
          </ac:grpSpMkLst>
        </pc:grpChg>
        <pc:grpChg chg="mod">
          <ac:chgData name="Barbara Schindler" userId="fa289460-f641-4c09-a7ed-c30ef1a3a221" providerId="ADAL" clId="{30FB7D48-16C7-43D3-9A3E-873933065505}" dt="2021-03-15T12:38:39.408" v="403" actId="962"/>
          <ac:grpSpMkLst>
            <pc:docMk/>
            <pc:sldMk cId="1417234590" sldId="505"/>
            <ac:grpSpMk id="18" creationId="{5375C011-2A60-446B-8DD2-A352EC22DC0A}"/>
          </ac:grpSpMkLst>
        </pc:grpChg>
        <pc:grpChg chg="mod">
          <ac:chgData name="Barbara Schindler" userId="fa289460-f641-4c09-a7ed-c30ef1a3a221" providerId="ADAL" clId="{30FB7D48-16C7-43D3-9A3E-873933065505}" dt="2021-03-15T12:38:39.408" v="403" actId="962"/>
          <ac:grpSpMkLst>
            <pc:docMk/>
            <pc:sldMk cId="1417234590" sldId="505"/>
            <ac:grpSpMk id="19" creationId="{E9C999B6-6F8A-4A9B-9755-0774B0E517B5}"/>
          </ac:grpSpMkLst>
        </pc:grpChg>
        <pc:grpChg chg="mod">
          <ac:chgData name="Barbara Schindler" userId="fa289460-f641-4c09-a7ed-c30ef1a3a221" providerId="ADAL" clId="{30FB7D48-16C7-43D3-9A3E-873933065505}" dt="2021-03-15T12:38:39.408" v="403" actId="962"/>
          <ac:grpSpMkLst>
            <pc:docMk/>
            <pc:sldMk cId="1417234590" sldId="505"/>
            <ac:grpSpMk id="20" creationId="{2F962392-8CA8-4A1B-A73C-84687A1BC11E}"/>
          </ac:grpSpMkLst>
        </pc:grpChg>
        <pc:grpChg chg="mod">
          <ac:chgData name="Barbara Schindler" userId="fa289460-f641-4c09-a7ed-c30ef1a3a221" providerId="ADAL" clId="{30FB7D48-16C7-43D3-9A3E-873933065505}" dt="2021-03-15T12:38:39.408" v="403" actId="962"/>
          <ac:grpSpMkLst>
            <pc:docMk/>
            <pc:sldMk cId="1417234590" sldId="505"/>
            <ac:grpSpMk id="120" creationId="{B2F9AFF6-CDEB-499E-A299-89A9F63732A9}"/>
          </ac:grpSpMkLst>
        </pc:grpChg>
        <pc:grpChg chg="mod">
          <ac:chgData name="Barbara Schindler" userId="fa289460-f641-4c09-a7ed-c30ef1a3a221" providerId="ADAL" clId="{30FB7D48-16C7-43D3-9A3E-873933065505}" dt="2021-03-15T12:38:39.408" v="403" actId="962"/>
          <ac:grpSpMkLst>
            <pc:docMk/>
            <pc:sldMk cId="1417234590" sldId="505"/>
            <ac:grpSpMk id="122" creationId="{29C820A1-948C-4EA1-9AD4-7729569C8EA4}"/>
          </ac:grpSpMkLst>
        </pc:grpChg>
        <pc:grpChg chg="mod">
          <ac:chgData name="Barbara Schindler" userId="fa289460-f641-4c09-a7ed-c30ef1a3a221" providerId="ADAL" clId="{30FB7D48-16C7-43D3-9A3E-873933065505}" dt="2021-03-15T12:38:39.408" v="403" actId="962"/>
          <ac:grpSpMkLst>
            <pc:docMk/>
            <pc:sldMk cId="1417234590" sldId="505"/>
            <ac:grpSpMk id="156" creationId="{2E41A02D-5BF3-4B1B-8236-1290041515E0}"/>
          </ac:grpSpMkLst>
        </pc:grpChg>
        <pc:grpChg chg="mod">
          <ac:chgData name="Barbara Schindler" userId="fa289460-f641-4c09-a7ed-c30ef1a3a221" providerId="ADAL" clId="{30FB7D48-16C7-43D3-9A3E-873933065505}" dt="2021-03-15T12:38:39.408" v="403" actId="962"/>
          <ac:grpSpMkLst>
            <pc:docMk/>
            <pc:sldMk cId="1417234590" sldId="505"/>
            <ac:grpSpMk id="161" creationId="{9D99FC45-4D03-41C4-842F-B3F6EA6BE8C3}"/>
          </ac:grpSpMkLst>
        </pc:grpChg>
        <pc:grpChg chg="mod">
          <ac:chgData name="Barbara Schindler" userId="fa289460-f641-4c09-a7ed-c30ef1a3a221" providerId="ADAL" clId="{30FB7D48-16C7-43D3-9A3E-873933065505}" dt="2021-03-15T12:38:39.408" v="403" actId="962"/>
          <ac:grpSpMkLst>
            <pc:docMk/>
            <pc:sldMk cId="1417234590" sldId="505"/>
            <ac:grpSpMk id="186" creationId="{934A9C71-B746-4718-AAA3-22C1C9859389}"/>
          </ac:grpSpMkLst>
        </pc:grpChg>
        <pc:grpChg chg="mod">
          <ac:chgData name="Barbara Schindler" userId="fa289460-f641-4c09-a7ed-c30ef1a3a221" providerId="ADAL" clId="{30FB7D48-16C7-43D3-9A3E-873933065505}" dt="2021-03-15T12:38:39.408" v="403" actId="962"/>
          <ac:grpSpMkLst>
            <pc:docMk/>
            <pc:sldMk cId="1417234590" sldId="505"/>
            <ac:grpSpMk id="253" creationId="{F0C898A7-85BC-4BB4-8B88-434B9739C10E}"/>
          </ac:grpSpMkLst>
        </pc:grpChg>
        <pc:grpChg chg="mod">
          <ac:chgData name="Barbara Schindler" userId="fa289460-f641-4c09-a7ed-c30ef1a3a221" providerId="ADAL" clId="{30FB7D48-16C7-43D3-9A3E-873933065505}" dt="2021-03-15T12:38:39.408" v="403" actId="962"/>
          <ac:grpSpMkLst>
            <pc:docMk/>
            <pc:sldMk cId="1417234590" sldId="505"/>
            <ac:grpSpMk id="258" creationId="{45D7DD3E-0605-480D-9F27-3A7504B8039D}"/>
          </ac:grpSpMkLst>
        </pc:grp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136" creationId="{A04ADB78-2ED1-4B50-86AF-1538656450BD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137" creationId="{A5405506-4A0F-43ED-8588-2AADDDEE831A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154" creationId="{2B532AAE-C855-44CA-98C0-B28A33AB9D82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155" creationId="{A0D98AFA-E45F-44C8-A28A-7A5B8FB9110F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204" creationId="{AE515C3D-5133-4141-920A-923E3A6ECA6A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205" creationId="{2331EB6E-D668-40CE-82E8-27A5CB803154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207" creationId="{6E6DEC89-2B80-4991-B6DF-37999BF0C300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212" creationId="{891A1FC0-999B-461A-8B6E-9909537EF9DB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213" creationId="{375E0F88-5386-4B15-8BAD-CA114D572056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215" creationId="{4E6F795F-B4D6-4DD8-ABB7-5430D8BB025E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217" creationId="{29B1795C-FFAA-405C-8EC6-985FDC3730DF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218" creationId="{CC573B4F-B2C5-4525-BF43-EFB43C8C41F6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220" creationId="{54CC96E1-2241-4787-A4C2-863D10C1A77B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222" creationId="{31E28894-29DC-446B-94EF-DACD2EAC3CAB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223" creationId="{13A3BC05-FFF0-4A0D-BAE6-F6F605DB08D9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231" creationId="{83705D9A-87BD-4F68-B044-A2B263C8F478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232" creationId="{98687BB2-753C-446D-82E9-900FE6FF9DAA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233" creationId="{B2A0F4A0-32D2-4751-BC39-42CCAC0E1B60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236" creationId="{B2939687-4D0A-4613-945F-2EA30B43FFD2}"/>
          </ac:cxnSpMkLst>
        </pc:cxnChg>
        <pc:cxnChg chg="mod">
          <ac:chgData name="Barbara Schindler" userId="fa289460-f641-4c09-a7ed-c30ef1a3a221" providerId="ADAL" clId="{30FB7D48-16C7-43D3-9A3E-873933065505}" dt="2021-03-15T12:38:39.408" v="403" actId="962"/>
          <ac:cxnSpMkLst>
            <pc:docMk/>
            <pc:sldMk cId="1417234590" sldId="505"/>
            <ac:cxnSpMk id="237" creationId="{C443F34B-5917-426A-BC7C-C50D2F0D023A}"/>
          </ac:cxnSpMkLst>
        </pc:cxnChg>
      </pc:sldChg>
      <pc:sldChg chg="modSp mod">
        <pc:chgData name="Barbara Schindler" userId="fa289460-f641-4c09-a7ed-c30ef1a3a221" providerId="ADAL" clId="{30FB7D48-16C7-43D3-9A3E-873933065505}" dt="2021-03-15T12:23:28.393" v="193" actId="962"/>
        <pc:sldMkLst>
          <pc:docMk/>
          <pc:sldMk cId="1103201932" sldId="506"/>
        </pc:sldMkLst>
        <pc:spChg chg="mod">
          <ac:chgData name="Barbara Schindler" userId="fa289460-f641-4c09-a7ed-c30ef1a3a221" providerId="ADAL" clId="{30FB7D48-16C7-43D3-9A3E-873933065505}" dt="2021-03-15T12:23:28.393" v="193" actId="962"/>
          <ac:spMkLst>
            <pc:docMk/>
            <pc:sldMk cId="1103201932" sldId="506"/>
            <ac:spMk id="2" creationId="{1CDE11F0-9560-41D8-BCCA-4600A5D05669}"/>
          </ac:spMkLst>
        </pc:spChg>
        <pc:spChg chg="mod">
          <ac:chgData name="Barbara Schindler" userId="fa289460-f641-4c09-a7ed-c30ef1a3a221" providerId="ADAL" clId="{30FB7D48-16C7-43D3-9A3E-873933065505}" dt="2021-03-15T12:23:28.393" v="193" actId="962"/>
          <ac:spMkLst>
            <pc:docMk/>
            <pc:sldMk cId="1103201932" sldId="506"/>
            <ac:spMk id="3" creationId="{00325EC7-BFC7-4AEF-94F3-0FFA84F46E86}"/>
          </ac:spMkLst>
        </pc:spChg>
        <pc:spChg chg="mod">
          <ac:chgData name="Barbara Schindler" userId="fa289460-f641-4c09-a7ed-c30ef1a3a221" providerId="ADAL" clId="{30FB7D48-16C7-43D3-9A3E-873933065505}" dt="2021-03-15T12:23:28.393" v="193" actId="962"/>
          <ac:spMkLst>
            <pc:docMk/>
            <pc:sldMk cId="1103201932" sldId="506"/>
            <ac:spMk id="4" creationId="{557134D6-C5DF-44C0-8230-43C51A0B3E89}"/>
          </ac:spMkLst>
        </pc:spChg>
        <pc:spChg chg="mod">
          <ac:chgData name="Barbara Schindler" userId="fa289460-f641-4c09-a7ed-c30ef1a3a221" providerId="ADAL" clId="{30FB7D48-16C7-43D3-9A3E-873933065505}" dt="2021-03-15T12:23:28.393" v="193" actId="962"/>
          <ac:spMkLst>
            <pc:docMk/>
            <pc:sldMk cId="1103201932" sldId="506"/>
            <ac:spMk id="65" creationId="{8230F943-0027-4641-B348-97197BE9509A}"/>
          </ac:spMkLst>
        </pc:spChg>
        <pc:spChg chg="mod">
          <ac:chgData name="Barbara Schindler" userId="fa289460-f641-4c09-a7ed-c30ef1a3a221" providerId="ADAL" clId="{30FB7D48-16C7-43D3-9A3E-873933065505}" dt="2021-03-15T12:23:28.393" v="193" actId="962"/>
          <ac:spMkLst>
            <pc:docMk/>
            <pc:sldMk cId="1103201932" sldId="506"/>
            <ac:spMk id="94" creationId="{5B8A1297-790E-449A-9E70-50B59510CED8}"/>
          </ac:spMkLst>
        </pc:spChg>
        <pc:spChg chg="mod">
          <ac:chgData name="Barbara Schindler" userId="fa289460-f641-4c09-a7ed-c30ef1a3a221" providerId="ADAL" clId="{30FB7D48-16C7-43D3-9A3E-873933065505}" dt="2021-03-15T12:23:28.393" v="193" actId="962"/>
          <ac:spMkLst>
            <pc:docMk/>
            <pc:sldMk cId="1103201932" sldId="506"/>
            <ac:spMk id="95" creationId="{B6E3BD95-03ED-4CDC-86A9-7F0465B4EE6E}"/>
          </ac:spMkLst>
        </pc:spChg>
        <pc:spChg chg="mod">
          <ac:chgData name="Barbara Schindler" userId="fa289460-f641-4c09-a7ed-c30ef1a3a221" providerId="ADAL" clId="{30FB7D48-16C7-43D3-9A3E-873933065505}" dt="2021-03-15T12:23:28.393" v="193" actId="962"/>
          <ac:spMkLst>
            <pc:docMk/>
            <pc:sldMk cId="1103201932" sldId="506"/>
            <ac:spMk id="128" creationId="{A6FC14A3-F25E-4DC2-96B5-7C1A767224EF}"/>
          </ac:spMkLst>
        </pc:spChg>
        <pc:grpChg chg="mod">
          <ac:chgData name="Barbara Schindler" userId="fa289460-f641-4c09-a7ed-c30ef1a3a221" providerId="ADAL" clId="{30FB7D48-16C7-43D3-9A3E-873933065505}" dt="2021-03-15T12:23:28.393" v="193" actId="962"/>
          <ac:grpSpMkLst>
            <pc:docMk/>
            <pc:sldMk cId="1103201932" sldId="506"/>
            <ac:grpSpMk id="85" creationId="{E8276B27-135D-41B6-8F5C-ADB73D960F92}"/>
          </ac:grpSpMkLst>
        </pc:grpChg>
        <pc:grpChg chg="mod">
          <ac:chgData name="Barbara Schindler" userId="fa289460-f641-4c09-a7ed-c30ef1a3a221" providerId="ADAL" clId="{30FB7D48-16C7-43D3-9A3E-873933065505}" dt="2021-03-15T12:23:28.393" v="193" actId="962"/>
          <ac:grpSpMkLst>
            <pc:docMk/>
            <pc:sldMk cId="1103201932" sldId="506"/>
            <ac:grpSpMk id="96" creationId="{480B8AA7-DE3D-4D44-A175-E3529C4A9DA0}"/>
          </ac:grpSpMkLst>
        </pc:grpChg>
        <pc:grpChg chg="mod">
          <ac:chgData name="Barbara Schindler" userId="fa289460-f641-4c09-a7ed-c30ef1a3a221" providerId="ADAL" clId="{30FB7D48-16C7-43D3-9A3E-873933065505}" dt="2021-03-15T12:23:28.393" v="193" actId="962"/>
          <ac:grpSpMkLst>
            <pc:docMk/>
            <pc:sldMk cId="1103201932" sldId="506"/>
            <ac:grpSpMk id="99" creationId="{7A69E9C2-DB6D-4AD0-8356-A3A774D4B985}"/>
          </ac:grpSpMkLst>
        </pc:grpChg>
        <pc:grpChg chg="mod">
          <ac:chgData name="Barbara Schindler" userId="fa289460-f641-4c09-a7ed-c30ef1a3a221" providerId="ADAL" clId="{30FB7D48-16C7-43D3-9A3E-873933065505}" dt="2021-03-15T12:23:28.393" v="193" actId="962"/>
          <ac:grpSpMkLst>
            <pc:docMk/>
            <pc:sldMk cId="1103201932" sldId="506"/>
            <ac:grpSpMk id="102" creationId="{A7B2BD2C-6CC2-4F61-B32C-0CEAEBFB5032}"/>
          </ac:grpSpMkLst>
        </pc:grpChg>
        <pc:grpChg chg="mod">
          <ac:chgData name="Barbara Schindler" userId="fa289460-f641-4c09-a7ed-c30ef1a3a221" providerId="ADAL" clId="{30FB7D48-16C7-43D3-9A3E-873933065505}" dt="2021-03-15T12:23:28.393" v="193" actId="962"/>
          <ac:grpSpMkLst>
            <pc:docMk/>
            <pc:sldMk cId="1103201932" sldId="506"/>
            <ac:grpSpMk id="131" creationId="{E579F593-EA49-4BD3-9E06-50EAC200F506}"/>
          </ac:grpSpMkLst>
        </pc:grpChg>
        <pc:picChg chg="mod">
          <ac:chgData name="Barbara Schindler" userId="fa289460-f641-4c09-a7ed-c30ef1a3a221" providerId="ADAL" clId="{30FB7D48-16C7-43D3-9A3E-873933065505}" dt="2021-03-15T12:23:28.393" v="193" actId="962"/>
          <ac:picMkLst>
            <pc:docMk/>
            <pc:sldMk cId="1103201932" sldId="506"/>
            <ac:picMk id="5" creationId="{00000000-0000-0000-0000-000000000000}"/>
          </ac:picMkLst>
        </pc:picChg>
        <pc:picChg chg="mod">
          <ac:chgData name="Barbara Schindler" userId="fa289460-f641-4c09-a7ed-c30ef1a3a221" providerId="ADAL" clId="{30FB7D48-16C7-43D3-9A3E-873933065505}" dt="2021-03-15T12:23:28.393" v="193" actId="962"/>
          <ac:picMkLst>
            <pc:docMk/>
            <pc:sldMk cId="1103201932" sldId="506"/>
            <ac:picMk id="6" creationId="{00000000-0000-0000-0000-000000000000}"/>
          </ac:picMkLst>
        </pc:picChg>
        <pc:picChg chg="mod">
          <ac:chgData name="Barbara Schindler" userId="fa289460-f641-4c09-a7ed-c30ef1a3a221" providerId="ADAL" clId="{30FB7D48-16C7-43D3-9A3E-873933065505}" dt="2021-03-15T12:23:28.393" v="193" actId="962"/>
          <ac:picMkLst>
            <pc:docMk/>
            <pc:sldMk cId="1103201932" sldId="506"/>
            <ac:picMk id="8" creationId="{A8D758E7-734C-47EE-9ACD-CA5F9BAF9030}"/>
          </ac:picMkLst>
        </pc:picChg>
        <pc:picChg chg="mod">
          <ac:chgData name="Barbara Schindler" userId="fa289460-f641-4c09-a7ed-c30ef1a3a221" providerId="ADAL" clId="{30FB7D48-16C7-43D3-9A3E-873933065505}" dt="2021-03-15T12:23:28.393" v="193" actId="962"/>
          <ac:picMkLst>
            <pc:docMk/>
            <pc:sldMk cId="1103201932" sldId="506"/>
            <ac:picMk id="9" creationId="{1D42DBAC-5FFA-46CC-8B76-BBDDD06D29AD}"/>
          </ac:picMkLst>
        </pc:picChg>
        <pc:picChg chg="mod">
          <ac:chgData name="Barbara Schindler" userId="fa289460-f641-4c09-a7ed-c30ef1a3a221" providerId="ADAL" clId="{30FB7D48-16C7-43D3-9A3E-873933065505}" dt="2021-03-15T12:23:28.393" v="193" actId="962"/>
          <ac:picMkLst>
            <pc:docMk/>
            <pc:sldMk cId="1103201932" sldId="506"/>
            <ac:picMk id="10" creationId="{00000000-0000-0000-0000-000000000000}"/>
          </ac:picMkLst>
        </pc:picChg>
        <pc:picChg chg="mod">
          <ac:chgData name="Barbara Schindler" userId="fa289460-f641-4c09-a7ed-c30ef1a3a221" providerId="ADAL" clId="{30FB7D48-16C7-43D3-9A3E-873933065505}" dt="2021-03-15T12:23:28.393" v="193" actId="962"/>
          <ac:picMkLst>
            <pc:docMk/>
            <pc:sldMk cId="1103201932" sldId="506"/>
            <ac:picMk id="12" creationId="{00000000-0000-0000-0000-000000000000}"/>
          </ac:picMkLst>
        </pc:picChg>
        <pc:picChg chg="mod">
          <ac:chgData name="Barbara Schindler" userId="fa289460-f641-4c09-a7ed-c30ef1a3a221" providerId="ADAL" clId="{30FB7D48-16C7-43D3-9A3E-873933065505}" dt="2021-03-15T12:22:04.991" v="152" actId="1035"/>
          <ac:picMkLst>
            <pc:docMk/>
            <pc:sldMk cId="1103201932" sldId="506"/>
            <ac:picMk id="88" creationId="{D3F89960-248F-4083-BA2E-96DB3B1697CB}"/>
          </ac:picMkLst>
        </pc:picChg>
        <pc:picChg chg="mod">
          <ac:chgData name="Barbara Schindler" userId="fa289460-f641-4c09-a7ed-c30ef1a3a221" providerId="ADAL" clId="{30FB7D48-16C7-43D3-9A3E-873933065505}" dt="2021-03-15T12:21:25.828" v="125" actId="962"/>
          <ac:picMkLst>
            <pc:docMk/>
            <pc:sldMk cId="1103201932" sldId="506"/>
            <ac:picMk id="89" creationId="{42E65979-894D-47A1-91D8-B4266C73A00E}"/>
          </ac:picMkLst>
        </pc:picChg>
        <pc:picChg chg="mod">
          <ac:chgData name="Barbara Schindler" userId="fa289460-f641-4c09-a7ed-c30ef1a3a221" providerId="ADAL" clId="{30FB7D48-16C7-43D3-9A3E-873933065505}" dt="2021-03-15T12:21:20.458" v="123" actId="962"/>
          <ac:picMkLst>
            <pc:docMk/>
            <pc:sldMk cId="1103201932" sldId="506"/>
            <ac:picMk id="91" creationId="{F563AFFE-4330-4084-B119-232FAA1CF0C8}"/>
          </ac:picMkLst>
        </pc:picChg>
        <pc:picChg chg="mod">
          <ac:chgData name="Barbara Schindler" userId="fa289460-f641-4c09-a7ed-c30ef1a3a221" providerId="ADAL" clId="{30FB7D48-16C7-43D3-9A3E-873933065505}" dt="2021-03-15T12:21:33.733" v="130" actId="962"/>
          <ac:picMkLst>
            <pc:docMk/>
            <pc:sldMk cId="1103201932" sldId="506"/>
            <ac:picMk id="92" creationId="{A39D6CA8-5894-4747-AA34-61AA431D1610}"/>
          </ac:picMkLst>
        </pc:picChg>
        <pc:picChg chg="mod">
          <ac:chgData name="Barbara Schindler" userId="fa289460-f641-4c09-a7ed-c30ef1a3a221" providerId="ADAL" clId="{30FB7D48-16C7-43D3-9A3E-873933065505}" dt="2021-03-15T12:23:28.393" v="193" actId="962"/>
          <ac:picMkLst>
            <pc:docMk/>
            <pc:sldMk cId="1103201932" sldId="506"/>
            <ac:picMk id="93" creationId="{C9CDE49C-5085-43AF-9AEA-FED093CCBCA7}"/>
          </ac:picMkLst>
        </pc:picChg>
        <pc:picChg chg="mod">
          <ac:chgData name="Barbara Schindler" userId="fa289460-f641-4c09-a7ed-c30ef1a3a221" providerId="ADAL" clId="{30FB7D48-16C7-43D3-9A3E-873933065505}" dt="2021-03-15T12:23:28.393" v="193" actId="962"/>
          <ac:picMkLst>
            <pc:docMk/>
            <pc:sldMk cId="1103201932" sldId="506"/>
            <ac:picMk id="105" creationId="{89A701F4-BD0D-4848-B552-3B68C2CCE194}"/>
          </ac:picMkLst>
        </pc:picChg>
        <pc:picChg chg="mod">
          <ac:chgData name="Barbara Schindler" userId="fa289460-f641-4c09-a7ed-c30ef1a3a221" providerId="ADAL" clId="{30FB7D48-16C7-43D3-9A3E-873933065505}" dt="2021-03-15T12:23:28.393" v="193" actId="962"/>
          <ac:picMkLst>
            <pc:docMk/>
            <pc:sldMk cId="1103201932" sldId="506"/>
            <ac:picMk id="106" creationId="{7F1EC3BC-18F2-410B-8F08-86AA224D1BCE}"/>
          </ac:picMkLst>
        </pc:picChg>
        <pc:picChg chg="mod">
          <ac:chgData name="Barbara Schindler" userId="fa289460-f641-4c09-a7ed-c30ef1a3a221" providerId="ADAL" clId="{30FB7D48-16C7-43D3-9A3E-873933065505}" dt="2021-03-15T12:23:28.393" v="193" actId="962"/>
          <ac:picMkLst>
            <pc:docMk/>
            <pc:sldMk cId="1103201932" sldId="506"/>
            <ac:picMk id="107" creationId="{E885E9B8-D09B-4148-8815-19CC59457048}"/>
          </ac:picMkLst>
        </pc:picChg>
        <pc:picChg chg="mod">
          <ac:chgData name="Barbara Schindler" userId="fa289460-f641-4c09-a7ed-c30ef1a3a221" providerId="ADAL" clId="{30FB7D48-16C7-43D3-9A3E-873933065505}" dt="2021-03-15T12:23:28.393" v="193" actId="962"/>
          <ac:picMkLst>
            <pc:docMk/>
            <pc:sldMk cId="1103201932" sldId="506"/>
            <ac:picMk id="108" creationId="{0EE579E3-7813-42CC-8DE2-17C7C13DD4D1}"/>
          </ac:picMkLst>
        </pc:picChg>
        <pc:picChg chg="mod">
          <ac:chgData name="Barbara Schindler" userId="fa289460-f641-4c09-a7ed-c30ef1a3a221" providerId="ADAL" clId="{30FB7D48-16C7-43D3-9A3E-873933065505}" dt="2021-03-15T12:23:28.393" v="193" actId="962"/>
          <ac:picMkLst>
            <pc:docMk/>
            <pc:sldMk cId="1103201932" sldId="506"/>
            <ac:picMk id="109" creationId="{948B7AF7-F902-424C-83F2-B3EFDE7D293A}"/>
          </ac:picMkLst>
        </pc:picChg>
        <pc:picChg chg="mod">
          <ac:chgData name="Barbara Schindler" userId="fa289460-f641-4c09-a7ed-c30ef1a3a221" providerId="ADAL" clId="{30FB7D48-16C7-43D3-9A3E-873933065505}" dt="2021-03-15T12:23:28.393" v="193" actId="962"/>
          <ac:picMkLst>
            <pc:docMk/>
            <pc:sldMk cId="1103201932" sldId="506"/>
            <ac:picMk id="111" creationId="{AAD6AC8C-96C3-4511-B88F-48A78F20761B}"/>
          </ac:picMkLst>
        </pc:picChg>
        <pc:picChg chg="mod">
          <ac:chgData name="Barbara Schindler" userId="fa289460-f641-4c09-a7ed-c30ef1a3a221" providerId="ADAL" clId="{30FB7D48-16C7-43D3-9A3E-873933065505}" dt="2021-03-15T12:23:28.393" v="193" actId="962"/>
          <ac:picMkLst>
            <pc:docMk/>
            <pc:sldMk cId="1103201932" sldId="506"/>
            <ac:picMk id="115" creationId="{2162C8E5-CEAA-4DF4-9450-4063BFC838D2}"/>
          </ac:picMkLst>
        </pc:picChg>
      </pc:sldChg>
      <pc:sldChg chg="addSp delSp modSp mod delAnim modAnim">
        <pc:chgData name="Barbara Schindler" userId="fa289460-f641-4c09-a7ed-c30ef1a3a221" providerId="ADAL" clId="{30FB7D48-16C7-43D3-9A3E-873933065505}" dt="2021-03-15T12:37:48.949" v="283" actId="962"/>
        <pc:sldMkLst>
          <pc:docMk/>
          <pc:sldMk cId="163577000" sldId="507"/>
        </pc:sldMkLst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4" creationId="{9324F20A-C92B-485A-BA46-E747DD8D88B0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5" creationId="{6CD5CEBA-E373-4CCE-B160-F0779A697214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6" creationId="{6DF152BA-2EE1-4C40-9CFB-CE984DAFE919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9" creationId="{363F9866-0BDA-4DDE-A53F-43E9E4433E4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8" creationId="{B0953DE6-B9CA-4BD2-9AAA-BDFA6518ED2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9" creationId="{BA2F93E4-E8CB-4D94-9293-C63F7F3F0F4D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0" creationId="{55822165-732A-47BA-B99B-E28BE4F2CAAA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1" creationId="{755FD7D1-14D6-43A2-9D6B-9549A7307F77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2" creationId="{A2943926-6501-474B-8BF0-186046EAE1FB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3" creationId="{25A52505-CAF7-402E-8B5C-E063CFB8FF32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4" creationId="{086037A2-091D-447E-8B31-9B0B2E6200BA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5" creationId="{C5402C8A-19C8-4FB1-994E-A11D3223C3F5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6" creationId="{A32768D3-323E-456A-98D5-BA3B0500A99B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7" creationId="{DB6067EA-340F-411E-A522-78E7E8B227BA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8" creationId="{D08AD243-0942-4882-B377-E6153F2CB990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9" creationId="{F31C5488-962A-448A-A86E-9CDD5B02B824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30" creationId="{8232D1EB-04ED-4D77-A61F-AFF4491FF85B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31" creationId="{8026EAF4-C266-4559-8391-C6DEA34BD1AE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32" creationId="{25884512-09EB-4C11-ADC3-39D47451A60F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33" creationId="{D2843BCE-E42A-4473-887E-03F475FC720B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34" creationId="{36D7E2CB-0905-4EDF-800E-DA02FDEA0E25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35" creationId="{0D1727D2-86E6-4D94-999D-8BEFCD35CDA9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36" creationId="{117A10DF-FB34-4FBA-9E01-F2E8D09A2CC5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37" creationId="{55BCE52E-CB71-4B35-B596-4FF32DC3A463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38" creationId="{7B421D21-A5C3-401D-8303-16246C4D90C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39" creationId="{33D675A2-5040-413F-BF58-FDC999D94C5A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40" creationId="{794F4238-A059-4FA0-ADF4-7A9EF396519C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41" creationId="{16B91604-5A01-44ED-AEF4-A77C86091A00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42" creationId="{BB0DF829-377A-4905-A8C0-E102BDC2AF1C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43" creationId="{0288A568-CF8B-47EB-A484-9BF09CF17580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44" creationId="{4E2601FE-BC60-4A06-9F34-C59F03B110F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45" creationId="{649630B2-B740-4DD0-8E8F-76F509A425AC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46" creationId="{23578F7F-5F99-4259-8375-2DF1D246390B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47" creationId="{EC3513F1-C63C-4EC5-9FAA-2EAE14BCBC5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48" creationId="{2A7D813B-5E82-4F31-A7DD-C33E018F519F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49" creationId="{79BD9510-391D-4D7A-95E9-D7B5C419E387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50" creationId="{6EFB78A8-96E4-4D0E-9930-CFD9CF458BFF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51" creationId="{5F8C3057-3FAF-4C86-A068-C97853AFD049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52" creationId="{A4123F27-145C-437E-B541-7469CBA2819D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53" creationId="{DE934124-C567-4D70-A25F-1AA9EB663202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54" creationId="{008AEDEC-F5D2-4893-BAF3-EF7508B206FE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55" creationId="{DB55319D-A3E9-4119-9210-2BB44AC407B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56" creationId="{80F2849A-2D81-44DC-8E24-A19F2F6D786C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57" creationId="{DDD80469-CB53-4632-925A-B70106451F84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58" creationId="{F768FED0-18E1-4C1B-BCAD-07E9751FDA6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59" creationId="{421FA17E-08B3-47F3-926C-A159B798D154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60" creationId="{C7D9F8E3-F1F9-4ABC-B123-91DA3D113C7E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61" creationId="{DF2432F7-7F19-407B-B706-844C411636C7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62" creationId="{C25EC1A8-B833-43EB-83FF-98E4BA4DEA7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63" creationId="{B6F48DD3-4B17-4666-9FE0-D05D3C103985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64" creationId="{DB30E7E2-F072-4890-A3D4-8A91E2F545A2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65" creationId="{CC2E04E3-6DC6-4B90-B79D-19B0C065B63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66" creationId="{EEDDD4E4-3017-44A7-BC50-C5DDF366E31E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67" creationId="{C14DDA33-95D9-4C97-B997-F0DDC52700D2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68" creationId="{88F39449-E428-4C53-8AC2-2C3B110EDA85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69" creationId="{6503539F-9E33-4EC8-8F81-115EF917DD0E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70" creationId="{892D1ECF-0A37-4B1E-936B-1D5E5EE9C2AC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71" creationId="{B5FD3FF1-49B9-4E1B-BDDE-8F7DFC7F9578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72" creationId="{04E0AD65-F17A-4717-B878-ABE443094B2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73" creationId="{D9513FA3-216A-4343-A29F-D2B4B8130BD4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74" creationId="{060DCEDE-6EAC-4FD7-950B-8BF8335E5EE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75" creationId="{1BE18239-2680-4E36-B244-F9C8CD030DB8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76" creationId="{020D7997-2711-4DD0-8ED0-5E8F528DCBD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77" creationId="{E0ED6891-E9F5-4198-9EC8-70DA22119AF3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78" creationId="{452BA7CE-B91D-4E4E-BC0D-590E21479C45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79" creationId="{B5118194-3CCA-48BD-8494-90C771FD966E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80" creationId="{21ABB8B6-85FF-47F0-9E91-17E23213D0D0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81" creationId="{1DBB1AA9-5B39-4BC3-BD31-D7CB16A9CAD5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82" creationId="{09FD983D-6862-4889-9388-B9B6C98C9653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83" creationId="{D688F076-0B04-49D2-9505-4FB6C7AA6CFE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84" creationId="{9F21B681-EB98-4596-A9B6-489EEE44BC75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85" creationId="{B37D444E-9D7D-431B-9055-D5B17191B4A3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86" creationId="{06AAEB64-E7E3-4FEF-95A1-E14B633DE233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87" creationId="{09F62116-6F98-4752-A1F6-97DC89E0172D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88" creationId="{95726A82-B2DD-4141-9285-FC3119763D7C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89" creationId="{A06BF46A-31DE-4329-824C-9FCA360CE20F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90" creationId="{9AE213D7-BE85-42BF-A12B-CA1D88E8A2DF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91" creationId="{489EA670-21AE-413C-B8AF-CD25EA11239C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92" creationId="{77B11F9A-AFDE-44B6-BC64-6B793D6B5CEE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93" creationId="{36FE35B7-A8A1-481C-B4A2-DC30696E475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94" creationId="{03FFF497-F7E2-44C9-B7C2-C0A88B560FFD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95" creationId="{07EBE88F-1F56-47BD-B74C-9B517CB2A25D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96" creationId="{4C000DA9-F2F8-494F-9124-0B1F5CC22589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97" creationId="{528BDB30-75D1-42E3-8DA9-688B10132060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98" creationId="{4B631414-02A5-485F-AF55-D0D31D700BA8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99" creationId="{FC75CB5C-F0B9-4A6B-A8F1-BE0894F5AF25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00" creationId="{95B4CEC3-A908-4AEC-8364-8E95B7E94AC8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01" creationId="{962D49C9-6102-4153-B37D-3B2D1BEB8BCE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02" creationId="{B47356A9-210A-4FFB-A280-C19F821D4FCA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03" creationId="{60062CB1-5817-4A59-9E38-ED3A4D8991EF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04" creationId="{77420723-7C02-4CC2-89EC-3DDE8C5C1F3B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05" creationId="{BCD16B8A-87A4-4499-A00E-27E1C9A281E7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06" creationId="{9C7A6D66-A0A5-4A4E-8DA5-97D3A940289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07" creationId="{7F41D255-335C-431E-9AA8-F3E9581B481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08" creationId="{59917A1F-18D5-4A36-B6B1-C9631E4C049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09" creationId="{C6E965E9-292E-479B-893A-2800B85813EF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10" creationId="{91634EB5-FE51-4F8F-AE76-FB77AB805AF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11" creationId="{DEF5F8B4-2B76-48E0-B6B8-8B7F5D8ADFB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12" creationId="{F5C47EA1-F344-4A6D-997A-154B1191395B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13" creationId="{341786BE-F88E-4FAD-B91C-B5DD1C5C5DEB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14" creationId="{6C4C6479-8647-4A3F-826D-9E779D3F59D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15" creationId="{5A14741D-C52E-45CA-A9D5-C3BBE180E263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16" creationId="{29649A64-B4F0-4C2A-9F98-981CA75646B2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17" creationId="{D57696F8-B0C9-411C-BD56-6C7C906131F8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18" creationId="{FA6AE276-2E94-4EF8-BE11-10E5EFF2BE5F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19" creationId="{FAC07666-3E0C-49B5-B3F0-3088B5CF150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20" creationId="{3947FCC3-38D3-4435-BAE5-2BFE56B33A37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21" creationId="{DEE63BE2-849D-4933-BA82-6F990FD7098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22" creationId="{8B75C33D-F8C6-4550-A74F-3913D1F78DB7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23" creationId="{7614A622-9F6E-40EA-A8E3-E4053B6B0000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24" creationId="{D155DCAF-11C1-4070-B5F6-688B868E18EA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25" creationId="{7DE22042-B3F1-4602-A898-423101505549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26" creationId="{D4D882C5-7935-40A0-AFC8-0EDBE868BDC2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27" creationId="{6ECCE46B-1D1B-41B9-B4B9-BCB0B4F6E3A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28" creationId="{B5E5F8A8-82E6-4C8A-8A30-19632166AED7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29" creationId="{98220831-BAE2-494C-976A-05E66FB5DC3D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30" creationId="{51BAE778-5E6D-4021-A9FE-9BA2515E0C2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31" creationId="{3891D057-6081-41A9-9EA8-B6F7D06D9CE5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32" creationId="{4F8956FC-78B9-4832-B8E2-1440CE92C465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33" creationId="{C846B9BF-E8C8-4691-8015-8219CA117DC9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34" creationId="{7318197C-D3C3-4514-AD56-088BD2713E0F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35" creationId="{73BBF1B3-0A05-4C89-977A-FE641DEAE9B3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36" creationId="{DCD3F157-7817-4744-929E-E42046B54EF4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37" creationId="{F17F5BC7-50D8-45AF-87CE-771F8B6C29DD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38" creationId="{0783EE65-08BE-484B-B277-33159B61309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39" creationId="{26562D45-19CF-4491-AA45-DDC3D4AA4489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40" creationId="{C109EDF1-A036-4852-9ECE-622D769F36A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41" creationId="{2E538B8B-81F4-4737-A7CD-DDE8E8BC898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42" creationId="{B58BDC53-7DEF-43DB-A42C-5CDC34239A1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43" creationId="{BA1B35B6-0EEF-4EFE-8216-554D38479629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44" creationId="{5F2C8C87-406E-4CC9-9C2E-13804151CDC5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45" creationId="{84B44466-6E12-4205-B288-8B2834899CD0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46" creationId="{D201C992-1E49-49FE-B2CD-1C2E9D7F3193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47" creationId="{4AC6503D-5D36-40A6-8B87-D3F2268EE28D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48" creationId="{66582B36-5358-4533-98BE-CA000C7A5022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49" creationId="{82C99A03-A461-49B8-83CE-1AD60D84016D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50" creationId="{C1D571FD-4DB4-41F7-99A4-68413D737BE2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51" creationId="{F9DA4C95-376F-4F2C-96BE-C076C2C716C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52" creationId="{89F7E17B-45ED-4FAC-9C24-E493DC6634E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53" creationId="{0D9E1813-6326-41F9-A875-0D70E6920A8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54" creationId="{605C8D7D-2D13-4008-9BA3-0CB8183C932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55" creationId="{65A732D3-14E6-4529-9FAC-AA219FAA9523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56" creationId="{D29F8FA9-6836-46E9-9018-0DBA1A251D9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57" creationId="{47AAB8AF-CC6F-43A3-8BF1-AA1D74A1F86C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58" creationId="{2BB085A2-B9A2-468F-AE14-23E40EF87884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59" creationId="{B288E3FB-A34A-44D5-8E40-B90803395E49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60" creationId="{F57A38BF-2CC5-4B75-98AB-513CBFE8B8B7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61" creationId="{6A30C204-86BC-49C8-A45A-1C766FCC957C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62" creationId="{4A09C303-60EC-491A-A7FB-87F64F4F8655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63" creationId="{DD4CA81F-B8B7-40A1-BF82-469348E434B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64" creationId="{B8183D12-30EE-40CC-A6F9-18998E06D4C9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65" creationId="{5B854895-38DC-4154-8E3C-AA391741F654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66" creationId="{F590CBAC-E335-41A3-BD62-1E8BDA4D7CAC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67" creationId="{33B9C9C0-BCE3-4757-B247-302A0901963A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68" creationId="{7FB6F461-296F-4FB6-828F-711B26AA7E83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69" creationId="{DA4CE398-482C-4DE3-AD1C-A4B58AF9441E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70" creationId="{78806A41-B916-4F03-AF82-690CBDCE100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71" creationId="{3E8D397A-811D-4C84-9BD6-EB82FB58F1C0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72" creationId="{44419927-92F9-4CB8-8187-35CB7059270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73" creationId="{4CF885EE-7BB4-4116-8002-D29A67A201B5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74" creationId="{5EE47245-7C8B-4F10-9CC5-7F1994E1CBD8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75" creationId="{4E4DC46F-AA0D-4455-B474-D83826A7B3F4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76" creationId="{650EEA0A-B444-4B9C-A431-E302A2E112FA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77" creationId="{9DD98F89-5855-4B14-AEF6-794BA2271F39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78" creationId="{A3DC65B7-5535-4487-BFCB-0F038C59C51D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79" creationId="{5C67D4D4-82D6-4648-81EB-32D182E61FD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80" creationId="{F8C2516C-F2F7-4325-9D74-4F5C29B8599E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81" creationId="{8F62EE9F-56C4-4386-B295-AE460D4D231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82" creationId="{8ED4335C-360E-4335-BFC6-4E12A3E55F59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83" creationId="{1C27E2C9-6D6F-4079-B136-5961689AA110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84" creationId="{ADA3E602-5942-4026-BB57-382423F67E69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85" creationId="{81A78CFD-C24E-4D88-9379-7C0EDE8FFB67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86" creationId="{AF968899-CA41-41B2-9C7A-99871333F4CB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87" creationId="{40A63360-F021-437D-BC74-496BD4A65129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88" creationId="{77EEEE74-4611-4A06-9FA0-C51E83C8F0BB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89" creationId="{7DACB1A4-A90F-4C1B-BD04-182D33F1F3FA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91" creationId="{340A369D-3D96-444F-B19E-5B2B6972BD4D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192" creationId="{84C83980-3806-42FC-AC70-80977B8C4A44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37" creationId="{8B8D74D1-171E-4DA8-8F23-D7E5F3C733BA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38" creationId="{C4DBCF7A-5B56-4B35-95B2-C11446887BA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39" creationId="{728B6AC7-4EB9-4FB5-AF7D-182933945F1E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40" creationId="{6D4E88A9-8D6F-40B2-A563-C01DD2595336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41" creationId="{DDDC7E6A-478B-43F0-9D82-9FDF669B9F11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43" creationId="{25BC5280-EA22-46A2-80CA-2D9C2F146C47}"/>
          </ac:spMkLst>
        </pc:spChg>
        <pc:spChg chg="mod">
          <ac:chgData name="Barbara Schindler" userId="fa289460-f641-4c09-a7ed-c30ef1a3a221" providerId="ADAL" clId="{30FB7D48-16C7-43D3-9A3E-873933065505}" dt="2021-03-15T09:52:24.414" v="44" actId="20577"/>
          <ac:spMkLst>
            <pc:docMk/>
            <pc:sldMk cId="163577000" sldId="507"/>
            <ac:spMk id="244" creationId="{A49D4799-71F8-467F-BD9F-FC431BB79ADC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45" creationId="{A58D8DB5-1E6F-4194-BD99-72238D883191}"/>
          </ac:spMkLst>
        </pc:spChg>
        <pc:spChg chg="del mod">
          <ac:chgData name="Barbara Schindler" userId="fa289460-f641-4c09-a7ed-c30ef1a3a221" providerId="ADAL" clId="{30FB7D48-16C7-43D3-9A3E-873933065505}" dt="2021-03-15T09:52:40.050" v="49" actId="478"/>
          <ac:spMkLst>
            <pc:docMk/>
            <pc:sldMk cId="163577000" sldId="507"/>
            <ac:spMk id="246" creationId="{DF860234-0A3B-400A-9A85-7FC4199F636E}"/>
          </ac:spMkLst>
        </pc:spChg>
        <pc:spChg chg="del mod">
          <ac:chgData name="Barbara Schindler" userId="fa289460-f641-4c09-a7ed-c30ef1a3a221" providerId="ADAL" clId="{30FB7D48-16C7-43D3-9A3E-873933065505}" dt="2021-03-15T09:52:40.916" v="50" actId="478"/>
          <ac:spMkLst>
            <pc:docMk/>
            <pc:sldMk cId="163577000" sldId="507"/>
            <ac:spMk id="247" creationId="{38CE5A98-057A-4056-94D5-4FB329EA1B7B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48" creationId="{6E72D236-8796-41DD-B68A-88AD23F2C41E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49" creationId="{CB8BF72F-3A55-4843-B951-C27180345A10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50" creationId="{61BB06DB-DAFE-40BC-8BC5-870B7924B5F7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51" creationId="{815A5942-C465-46B9-893B-86E4FF1FBD77}"/>
          </ac:spMkLst>
        </pc:spChg>
        <pc:spChg chg="mod">
          <ac:chgData name="Barbara Schindler" userId="fa289460-f641-4c09-a7ed-c30ef1a3a221" providerId="ADAL" clId="{30FB7D48-16C7-43D3-9A3E-873933065505}" dt="2021-03-15T09:52:06.559" v="37"/>
          <ac:spMkLst>
            <pc:docMk/>
            <pc:sldMk cId="163577000" sldId="507"/>
            <ac:spMk id="252" creationId="{F03893C8-1AAA-4B3C-9830-ECF7F1298588}"/>
          </ac:spMkLst>
        </pc:spChg>
        <pc:spChg chg="mod">
          <ac:chgData name="Barbara Schindler" userId="fa289460-f641-4c09-a7ed-c30ef1a3a221" providerId="ADAL" clId="{30FB7D48-16C7-43D3-9A3E-873933065505}" dt="2021-03-15T12:37:48.949" v="283" actId="962"/>
          <ac:spMkLst>
            <pc:docMk/>
            <pc:sldMk cId="163577000" sldId="507"/>
            <ac:spMk id="258" creationId="{14BF1DCF-1424-4FAE-B03A-1DF2BECEF7DC}"/>
          </ac:spMkLst>
        </pc:spChg>
        <pc:grpChg chg="mod">
          <ac:chgData name="Barbara Schindler" userId="fa289460-f641-4c09-a7ed-c30ef1a3a221" providerId="ADAL" clId="{30FB7D48-16C7-43D3-9A3E-873933065505}" dt="2021-03-15T12:37:48.949" v="283" actId="962"/>
          <ac:grpSpMkLst>
            <pc:docMk/>
            <pc:sldMk cId="163577000" sldId="507"/>
            <ac:grpSpMk id="190" creationId="{EC08C74F-8340-411A-9F92-361674EAEC25}"/>
          </ac:grpSpMkLst>
        </pc:grpChg>
        <pc:grpChg chg="mod">
          <ac:chgData name="Barbara Schindler" userId="fa289460-f641-4c09-a7ed-c30ef1a3a221" providerId="ADAL" clId="{30FB7D48-16C7-43D3-9A3E-873933065505}" dt="2021-03-15T12:37:48.949" v="283" actId="962"/>
          <ac:grpSpMkLst>
            <pc:docMk/>
            <pc:sldMk cId="163577000" sldId="507"/>
            <ac:grpSpMk id="213" creationId="{C231FE68-8EE5-4A88-9FA3-72CD1BCD34CE}"/>
          </ac:grpSpMkLst>
        </pc:grpChg>
        <pc:grpChg chg="add mod">
          <ac:chgData name="Barbara Schindler" userId="fa289460-f641-4c09-a7ed-c30ef1a3a221" providerId="ADAL" clId="{30FB7D48-16C7-43D3-9A3E-873933065505}" dt="2021-03-15T12:37:48.949" v="283" actId="962"/>
          <ac:grpSpMkLst>
            <pc:docMk/>
            <pc:sldMk cId="163577000" sldId="507"/>
            <ac:grpSpMk id="242" creationId="{831A2741-BE31-4BD0-8DA0-20D72E69B6C7}"/>
          </ac:grpSpMkLst>
        </pc:grpChg>
      </pc:sldChg>
    </pc:docChg>
  </pc:docChgLst>
  <pc:docChgLst>
    <pc:chgData name="Yannick Pinkinelli" userId="36a955ab-6d60-48cd-874f-a3bc233ef9fb" providerId="ADAL" clId="{7C4637B3-4B23-4DE1-9AE3-69F1368DA661}"/>
    <pc:docChg chg="modSld">
      <pc:chgData name="Yannick Pinkinelli" userId="36a955ab-6d60-48cd-874f-a3bc233ef9fb" providerId="ADAL" clId="{7C4637B3-4B23-4DE1-9AE3-69F1368DA661}" dt="2021-03-16T09:25:19.991" v="1"/>
      <pc:docMkLst>
        <pc:docMk/>
      </pc:docMkLst>
      <pc:sldChg chg="modSp">
        <pc:chgData name="Yannick Pinkinelli" userId="36a955ab-6d60-48cd-874f-a3bc233ef9fb" providerId="ADAL" clId="{7C4637B3-4B23-4DE1-9AE3-69F1368DA661}" dt="2021-03-16T09:25:19.991" v="1"/>
        <pc:sldMkLst>
          <pc:docMk/>
          <pc:sldMk cId="3865055406" sldId="497"/>
        </pc:sldMkLst>
        <pc:graphicFrameChg chg="mod">
          <ac:chgData name="Yannick Pinkinelli" userId="36a955ab-6d60-48cd-874f-a3bc233ef9fb" providerId="ADAL" clId="{7C4637B3-4B23-4DE1-9AE3-69F1368DA661}" dt="2021-03-16T09:25:19.991" v="1"/>
          <ac:graphicFrameMkLst>
            <pc:docMk/>
            <pc:sldMk cId="3865055406" sldId="497"/>
            <ac:graphicFrameMk id="51" creationId="{4C3168A1-E1C6-47A5-A96A-B9ACE52378BC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uppieren 62"/>
          <p:cNvGrpSpPr/>
          <p:nvPr/>
        </p:nvGrpSpPr>
        <p:grpSpPr bwMode="gray">
          <a:xfrm>
            <a:off x="-154377" y="-155284"/>
            <a:ext cx="7106430" cy="10237205"/>
            <a:chOff x="-155748" y="-143040"/>
            <a:chExt cx="7169496" cy="9430081"/>
          </a:xfrm>
        </p:grpSpPr>
        <p:grpSp>
          <p:nvGrpSpPr>
            <p:cNvPr id="64" name="Gruppieren 63"/>
            <p:cNvGrpSpPr/>
            <p:nvPr/>
          </p:nvGrpSpPr>
          <p:grpSpPr bwMode="gray">
            <a:xfrm>
              <a:off x="-155748" y="253998"/>
              <a:ext cx="7169496" cy="8672517"/>
              <a:chOff x="-174801" y="253998"/>
              <a:chExt cx="7169496" cy="8672517"/>
            </a:xfrm>
          </p:grpSpPr>
          <p:grpSp>
            <p:nvGrpSpPr>
              <p:cNvPr id="72" name="Gruppieren 71"/>
              <p:cNvGrpSpPr/>
              <p:nvPr/>
            </p:nvGrpSpPr>
            <p:grpSpPr bwMode="gray">
              <a:xfrm>
                <a:off x="-174801" y="253998"/>
                <a:ext cx="57496" cy="8672517"/>
                <a:chOff x="-174801" y="253998"/>
                <a:chExt cx="57496" cy="8672517"/>
              </a:xfrm>
            </p:grpSpPr>
            <p:sp>
              <p:nvSpPr>
                <p:cNvPr id="82" name="Gleichschenkliges Dreieck 81"/>
                <p:cNvSpPr/>
                <p:nvPr/>
              </p:nvSpPr>
              <p:spPr bwMode="gray">
                <a:xfrm rot="5400000">
                  <a:off x="-179384" y="258596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3" name="Gleichschenkliges Dreieck 82"/>
                <p:cNvSpPr/>
                <p:nvPr/>
              </p:nvSpPr>
              <p:spPr bwMode="gray">
                <a:xfrm rot="5400000">
                  <a:off x="-179385" y="439573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4" name="Gleichschenkliges Dreieck 83"/>
                <p:cNvSpPr/>
                <p:nvPr/>
              </p:nvSpPr>
              <p:spPr bwMode="gray">
                <a:xfrm rot="5400000">
                  <a:off x="-179386" y="582447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5" name="Gleichschenkliges Dreieck 84"/>
                <p:cNvSpPr/>
                <p:nvPr/>
              </p:nvSpPr>
              <p:spPr bwMode="gray">
                <a:xfrm rot="5400000">
                  <a:off x="-179392" y="3190877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6" name="Gleichschenkliges Dreieck 85"/>
                <p:cNvSpPr/>
                <p:nvPr/>
              </p:nvSpPr>
              <p:spPr bwMode="gray">
                <a:xfrm rot="5400000">
                  <a:off x="-179393" y="3512839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7" name="Gleichschenkliges Dreieck 86"/>
                <p:cNvSpPr/>
                <p:nvPr/>
              </p:nvSpPr>
              <p:spPr bwMode="gray">
                <a:xfrm rot="5400000">
                  <a:off x="-179397" y="8429460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8" name="Gleichschenkliges Dreieck 87"/>
                <p:cNvSpPr/>
                <p:nvPr/>
              </p:nvSpPr>
              <p:spPr bwMode="gray">
                <a:xfrm rot="5400000">
                  <a:off x="-179398" y="8683459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9" name="Gleichschenkliges Dreieck 88"/>
                <p:cNvSpPr/>
                <p:nvPr/>
              </p:nvSpPr>
              <p:spPr bwMode="gray">
                <a:xfrm rot="5400000">
                  <a:off x="-179399" y="886443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73" name="Gruppieren 72"/>
              <p:cNvGrpSpPr/>
              <p:nvPr/>
            </p:nvGrpSpPr>
            <p:grpSpPr bwMode="gray">
              <a:xfrm flipH="1">
                <a:off x="6937199" y="253998"/>
                <a:ext cx="57496" cy="8672517"/>
                <a:chOff x="-174801" y="253998"/>
                <a:chExt cx="57496" cy="8672517"/>
              </a:xfrm>
            </p:grpSpPr>
            <p:sp>
              <p:nvSpPr>
                <p:cNvPr id="74" name="Gleichschenkliges Dreieck 73"/>
                <p:cNvSpPr/>
                <p:nvPr/>
              </p:nvSpPr>
              <p:spPr bwMode="gray">
                <a:xfrm rot="5400000">
                  <a:off x="-179384" y="258596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5" name="Gleichschenkliges Dreieck 74"/>
                <p:cNvSpPr/>
                <p:nvPr/>
              </p:nvSpPr>
              <p:spPr bwMode="gray">
                <a:xfrm rot="5400000">
                  <a:off x="-179385" y="439573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6" name="Gleichschenkliges Dreieck 75"/>
                <p:cNvSpPr/>
                <p:nvPr/>
              </p:nvSpPr>
              <p:spPr bwMode="gray">
                <a:xfrm rot="5400000">
                  <a:off x="-179386" y="582447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7" name="Gleichschenkliges Dreieck 76"/>
                <p:cNvSpPr/>
                <p:nvPr/>
              </p:nvSpPr>
              <p:spPr bwMode="gray">
                <a:xfrm rot="5400000">
                  <a:off x="-179391" y="3190877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8" name="Gleichschenkliges Dreieck 77"/>
                <p:cNvSpPr/>
                <p:nvPr/>
              </p:nvSpPr>
              <p:spPr bwMode="gray">
                <a:xfrm rot="5400000">
                  <a:off x="-179392" y="3512839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9" name="Gleichschenkliges Dreieck 78"/>
                <p:cNvSpPr/>
                <p:nvPr/>
              </p:nvSpPr>
              <p:spPr bwMode="gray">
                <a:xfrm rot="5400000">
                  <a:off x="-179397" y="8429460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0" name="Gleichschenkliges Dreieck 79"/>
                <p:cNvSpPr/>
                <p:nvPr/>
              </p:nvSpPr>
              <p:spPr bwMode="gray">
                <a:xfrm rot="5400000">
                  <a:off x="-179398" y="8683459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1" name="Gleichschenkliges Dreieck 80"/>
                <p:cNvSpPr/>
                <p:nvPr/>
              </p:nvSpPr>
              <p:spPr bwMode="gray">
                <a:xfrm rot="5400000">
                  <a:off x="-179399" y="886443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65" name="Gruppieren 64"/>
            <p:cNvGrpSpPr/>
            <p:nvPr/>
          </p:nvGrpSpPr>
          <p:grpSpPr bwMode="gray">
            <a:xfrm>
              <a:off x="911223" y="-143040"/>
              <a:ext cx="5072066" cy="9430081"/>
              <a:chOff x="911223" y="-158975"/>
              <a:chExt cx="5072066" cy="9430081"/>
            </a:xfrm>
          </p:grpSpPr>
          <p:grpSp>
            <p:nvGrpSpPr>
              <p:cNvPr id="66" name="Gruppieren 65"/>
              <p:cNvGrpSpPr/>
              <p:nvPr/>
            </p:nvGrpSpPr>
            <p:grpSpPr bwMode="gray">
              <a:xfrm>
                <a:off x="911223" y="-158975"/>
                <a:ext cx="5072066" cy="57481"/>
                <a:chOff x="911223" y="-158975"/>
                <a:chExt cx="5072066" cy="57481"/>
              </a:xfrm>
            </p:grpSpPr>
            <p:sp>
              <p:nvSpPr>
                <p:cNvPr id="70" name="Gleichschenkliges Dreieck 69"/>
                <p:cNvSpPr/>
                <p:nvPr/>
              </p:nvSpPr>
              <p:spPr bwMode="gray">
                <a:xfrm rot="10800000">
                  <a:off x="911223" y="-15897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1" name="Gleichschenkliges Dreieck 70"/>
                <p:cNvSpPr/>
                <p:nvPr/>
              </p:nvSpPr>
              <p:spPr bwMode="gray">
                <a:xfrm rot="10800000">
                  <a:off x="5916611" y="-15897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67" name="Gruppieren 66"/>
              <p:cNvGrpSpPr/>
              <p:nvPr/>
            </p:nvGrpSpPr>
            <p:grpSpPr bwMode="gray">
              <a:xfrm flipV="1">
                <a:off x="911223" y="9213625"/>
                <a:ext cx="5072066" cy="57481"/>
                <a:chOff x="911223" y="-158975"/>
                <a:chExt cx="5072066" cy="57481"/>
              </a:xfrm>
            </p:grpSpPr>
            <p:sp>
              <p:nvSpPr>
                <p:cNvPr id="68" name="Gleichschenkliges Dreieck 67"/>
                <p:cNvSpPr/>
                <p:nvPr/>
              </p:nvSpPr>
              <p:spPr bwMode="gray">
                <a:xfrm rot="10800000">
                  <a:off x="911223" y="-15897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9" name="Gleichschenkliges Dreieck 68"/>
                <p:cNvSpPr/>
                <p:nvPr/>
              </p:nvSpPr>
              <p:spPr bwMode="gray">
                <a:xfrm rot="10800000">
                  <a:off x="5916611" y="-15897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 bwMode="gray">
          <a:xfrm>
            <a:off x="936254" y="311931"/>
            <a:ext cx="3283392" cy="184401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300"/>
            </a:lvl1pPr>
          </a:lstStyle>
          <a:p>
            <a:endParaRPr lang="de-DE" sz="1000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4933390" y="311931"/>
            <a:ext cx="964222" cy="196465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300"/>
            </a:lvl1pPr>
          </a:lstStyle>
          <a:p>
            <a:fld id="{A031DBC6-A481-4C45-8DB3-0C598107CDE9}" type="datetimeFigureOut">
              <a:rPr lang="de-DE" sz="1000">
                <a:solidFill>
                  <a:schemeClr val="tx2"/>
                </a:solidFill>
              </a:rPr>
              <a:t>03.03.22</a:t>
            </a:fld>
            <a:endParaRPr lang="de-DE" sz="1000">
              <a:solidFill>
                <a:schemeClr val="tx2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936254" y="9457881"/>
            <a:ext cx="3426141" cy="19646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00"/>
            </a:lvl1pPr>
          </a:lstStyle>
          <a:p>
            <a:endParaRPr lang="de-DE" sz="1000" dirty="0">
              <a:solidFill>
                <a:schemeClr val="tx2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5218890" y="9457881"/>
            <a:ext cx="678723" cy="19646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300"/>
            </a:lvl1pPr>
          </a:lstStyle>
          <a:p>
            <a:fld id="{050927EF-6445-814E-B74D-F3EF878A1E88}" type="slidenum">
              <a:rPr lang="de-DE" sz="1000">
                <a:solidFill>
                  <a:schemeClr val="tx2"/>
                </a:solidFill>
              </a:rPr>
              <a:t>‹#›</a:t>
            </a:fld>
            <a:endParaRPr lang="de-DE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636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936254" y="311931"/>
            <a:ext cx="3818702" cy="196466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5254577" y="311933"/>
            <a:ext cx="643035" cy="192248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DF4666C0-FA6C-45BA-BD66-E1C9FC5B12A8}" type="datetimeFigureOut">
              <a:rPr lang="de-DE" smtClean="0"/>
              <a:pPr/>
              <a:t>03.03.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31863" y="682625"/>
            <a:ext cx="4967287" cy="2794000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txBody>
          <a:bodyPr vert="horz" lIns="95556" tIns="47778" rIns="95556" bIns="47778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936253" y="3956496"/>
            <a:ext cx="4961359" cy="522564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936255" y="9457880"/>
            <a:ext cx="3675952" cy="19646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5468702" y="9457881"/>
            <a:ext cx="428911" cy="196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5799BF5-2177-414B-8A81-41618E50EDB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60582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1218786" rtl="0" eaLnBrk="1" latinLnBrk="0" hangingPunct="1">
      <a:spcBef>
        <a:spcPts val="267"/>
      </a:spcBef>
      <a:spcAft>
        <a:spcPts val="267"/>
      </a:spcAft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1218786" rtl="0" eaLnBrk="1" latinLnBrk="0" hangingPunct="1">
      <a:spcBef>
        <a:spcPts val="267"/>
      </a:spcBef>
      <a:spcAft>
        <a:spcPts val="267"/>
      </a:spcAft>
      <a:defRPr sz="1000" b="1" kern="1200">
        <a:solidFill>
          <a:schemeClr val="tx1"/>
        </a:solidFill>
        <a:latin typeface="+mn-lt"/>
        <a:ea typeface="+mn-ea"/>
        <a:cs typeface="+mn-cs"/>
      </a:defRPr>
    </a:lvl2pPr>
    <a:lvl3pPr marL="179388" indent="-179388" algn="l" defTabSz="1218786" rtl="0" eaLnBrk="1" latinLnBrk="0" hangingPunct="1">
      <a:spcBef>
        <a:spcPts val="267"/>
      </a:spcBef>
      <a:spcAft>
        <a:spcPts val="267"/>
      </a:spcAft>
      <a:buClr>
        <a:schemeClr val="accent1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358775" indent="-179388" algn="l" defTabSz="1218786" rtl="0" eaLnBrk="1" latinLnBrk="0" hangingPunct="1">
      <a:spcBef>
        <a:spcPts val="267"/>
      </a:spcBef>
      <a:spcAft>
        <a:spcPts val="267"/>
      </a:spcAft>
      <a:buClr>
        <a:schemeClr val="accent1"/>
      </a:buClr>
      <a:buFont typeface="Symbol" panose="05050102010706020507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79388" indent="-179388" algn="l" defTabSz="1218786" rtl="0" eaLnBrk="1" latinLnBrk="0" hangingPunct="1">
      <a:spcBef>
        <a:spcPts val="267"/>
      </a:spcBef>
      <a:spcAft>
        <a:spcPts val="267"/>
      </a:spcAft>
      <a:buClr>
        <a:schemeClr val="accent1"/>
      </a:buClr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449263" indent="-269875" algn="l" defTabSz="1218786" rtl="0" eaLnBrk="1" latinLnBrk="0" hangingPunct="1">
      <a:spcBef>
        <a:spcPts val="267"/>
      </a:spcBef>
      <a:spcAft>
        <a:spcPts val="267"/>
      </a:spcAft>
      <a:buClr>
        <a:schemeClr val="accent1"/>
      </a:buClr>
      <a:buSzPct val="90000"/>
      <a:buFont typeface="+mj-lt"/>
      <a:buAutoNum type="alphaLcParenR"/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0" indent="0" algn="l" defTabSz="1218786" rtl="0" eaLnBrk="1" latinLnBrk="0" hangingPunct="1">
      <a:lnSpc>
        <a:spcPct val="80000"/>
      </a:lnSpc>
      <a:spcBef>
        <a:spcPts val="800"/>
      </a:spcBef>
      <a:spcAft>
        <a:spcPts val="800"/>
      </a:spcAft>
      <a:defRPr sz="1000" b="0" kern="1200">
        <a:solidFill>
          <a:schemeClr val="tx1"/>
        </a:solidFill>
        <a:latin typeface="+mn-lt"/>
        <a:ea typeface="+mn-ea"/>
        <a:cs typeface="+mn-cs"/>
      </a:defRPr>
    </a:lvl7pPr>
    <a:lvl8pPr marL="0" indent="0" algn="l" defTabSz="1218786" rtl="0" eaLnBrk="1" latinLnBrk="0" hangingPunct="1">
      <a:lnSpc>
        <a:spcPct val="80000"/>
      </a:lnSpc>
      <a:spcBef>
        <a:spcPts val="800"/>
      </a:spcBef>
      <a:spcAft>
        <a:spcPts val="800"/>
      </a:spcAft>
      <a:defRPr sz="1000" b="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1218786" rtl="0" eaLnBrk="1" latinLnBrk="0" hangingPunct="1">
      <a:spcBef>
        <a:spcPts val="267"/>
      </a:spcBef>
      <a:spcAft>
        <a:spcPts val="267"/>
      </a:spcAft>
      <a:defRPr sz="1000" b="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7">
            <a:extLst>
              <a:ext uri="{FF2B5EF4-FFF2-40B4-BE49-F238E27FC236}">
                <a16:creationId xmlns:a16="http://schemas.microsoft.com/office/drawing/2014/main" id="{ACF08563-43C0-4DE6-9D05-8AB204DA95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1483200"/>
            <a:ext cx="12191999" cy="5374800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406453" y="2529072"/>
            <a:ext cx="11377506" cy="1548000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400" b="1" cap="all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6455" y="4081049"/>
            <a:ext cx="7489212" cy="252511"/>
          </a:xfrm>
        </p:spPr>
        <p:txBody>
          <a:bodyPr lIns="0" tIns="7200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75000"/>
              <a:buFont typeface="Arial" panose="020B0604020202020204" pitchFamily="34" charset="0"/>
              <a:buNone/>
              <a:defRPr sz="1400" b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75000"/>
              <a:buFont typeface="Wingdings" charset="2"/>
              <a:buNone/>
              <a:defRPr sz="16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Wingdings" charset="2"/>
              <a:buNone/>
              <a:defRPr sz="16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Vortragende(r)  l  Veranstaltung</a:t>
            </a:r>
          </a:p>
        </p:txBody>
      </p:sp>
    </p:spTree>
    <p:extLst>
      <p:ext uri="{BB962C8B-B14F-4D97-AF65-F5344CB8AC3E}">
        <p14:creationId xmlns:p14="http://schemas.microsoft.com/office/powerpoint/2010/main" val="716973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vollflächig + Overlay link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8FE2F768-31B7-4114-8D4D-032E4ED46F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21951E-D998-406D-8DA3-CD1E5D0FB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55C038-ADBC-4355-B701-93788356F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EEAC42-F94F-4D9A-8CB5-ED46D3DC3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7" name="SmartArt-Platzhalter 296">
            <a:extLst>
              <a:ext uri="{FF2B5EF4-FFF2-40B4-BE49-F238E27FC236}">
                <a16:creationId xmlns:a16="http://schemas.microsoft.com/office/drawing/2014/main" id="{5A909AA4-7409-4340-B373-87656CD8C6E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0566051" y="488304"/>
            <a:ext cx="1213200" cy="485482"/>
          </a:xfrm>
          <a:custGeom>
            <a:avLst/>
            <a:gdLst>
              <a:gd name="connsiteX0" fmla="*/ 1022440 w 1213200"/>
              <a:gd name="connsiteY0" fmla="*/ 413820 h 485482"/>
              <a:gd name="connsiteX1" fmla="*/ 1006795 w 1213200"/>
              <a:gd name="connsiteY1" fmla="*/ 455707 h 485482"/>
              <a:gd name="connsiteX2" fmla="*/ 1038084 w 1213200"/>
              <a:gd name="connsiteY2" fmla="*/ 455707 h 485482"/>
              <a:gd name="connsiteX3" fmla="*/ 35830 w 1213200"/>
              <a:gd name="connsiteY3" fmla="*/ 413820 h 485482"/>
              <a:gd name="connsiteX4" fmla="*/ 20186 w 1213200"/>
              <a:gd name="connsiteY4" fmla="*/ 455707 h 485482"/>
              <a:gd name="connsiteX5" fmla="*/ 51475 w 1213200"/>
              <a:gd name="connsiteY5" fmla="*/ 455707 h 485482"/>
              <a:gd name="connsiteX6" fmla="*/ 942703 w 1213200"/>
              <a:gd name="connsiteY6" fmla="*/ 412306 h 485482"/>
              <a:gd name="connsiteX7" fmla="*/ 942703 w 1213200"/>
              <a:gd name="connsiteY7" fmla="*/ 446118 h 485482"/>
              <a:gd name="connsiteX8" fmla="*/ 962906 w 1213200"/>
              <a:gd name="connsiteY8" fmla="*/ 446118 h 485482"/>
              <a:gd name="connsiteX9" fmla="*/ 979543 w 1213200"/>
              <a:gd name="connsiteY9" fmla="*/ 429212 h 485482"/>
              <a:gd name="connsiteX10" fmla="*/ 962906 w 1213200"/>
              <a:gd name="connsiteY10" fmla="*/ 412306 h 485482"/>
              <a:gd name="connsiteX11" fmla="*/ 942703 w 1213200"/>
              <a:gd name="connsiteY11" fmla="*/ 412306 h 485482"/>
              <a:gd name="connsiteX12" fmla="*/ 281095 w 1213200"/>
              <a:gd name="connsiteY12" fmla="*/ 412306 h 485482"/>
              <a:gd name="connsiteX13" fmla="*/ 281095 w 1213200"/>
              <a:gd name="connsiteY13" fmla="*/ 446118 h 485482"/>
              <a:gd name="connsiteX14" fmla="*/ 302669 w 1213200"/>
              <a:gd name="connsiteY14" fmla="*/ 446118 h 485482"/>
              <a:gd name="connsiteX15" fmla="*/ 319449 w 1213200"/>
              <a:gd name="connsiteY15" fmla="*/ 429212 h 485482"/>
              <a:gd name="connsiteX16" fmla="*/ 302669 w 1213200"/>
              <a:gd name="connsiteY16" fmla="*/ 412306 h 485482"/>
              <a:gd name="connsiteX17" fmla="*/ 281095 w 1213200"/>
              <a:gd name="connsiteY17" fmla="*/ 412306 h 485482"/>
              <a:gd name="connsiteX18" fmla="*/ 132221 w 1213200"/>
              <a:gd name="connsiteY18" fmla="*/ 412306 h 485482"/>
              <a:gd name="connsiteX19" fmla="*/ 132221 w 1213200"/>
              <a:gd name="connsiteY19" fmla="*/ 446118 h 485482"/>
              <a:gd name="connsiteX20" fmla="*/ 152525 w 1213200"/>
              <a:gd name="connsiteY20" fmla="*/ 446118 h 485482"/>
              <a:gd name="connsiteX21" fmla="*/ 168052 w 1213200"/>
              <a:gd name="connsiteY21" fmla="*/ 429212 h 485482"/>
              <a:gd name="connsiteX22" fmla="*/ 152525 w 1213200"/>
              <a:gd name="connsiteY22" fmla="*/ 412306 h 485482"/>
              <a:gd name="connsiteX23" fmla="*/ 132221 w 1213200"/>
              <a:gd name="connsiteY23" fmla="*/ 412306 h 485482"/>
              <a:gd name="connsiteX24" fmla="*/ 793576 w 1213200"/>
              <a:gd name="connsiteY24" fmla="*/ 411297 h 485482"/>
              <a:gd name="connsiteX25" fmla="*/ 772128 w 1213200"/>
              <a:gd name="connsiteY25" fmla="*/ 431575 h 485482"/>
              <a:gd name="connsiteX26" fmla="*/ 772128 w 1213200"/>
              <a:gd name="connsiteY26" fmla="*/ 456625 h 485482"/>
              <a:gd name="connsiteX27" fmla="*/ 793576 w 1213200"/>
              <a:gd name="connsiteY27" fmla="*/ 476903 h 485482"/>
              <a:gd name="connsiteX28" fmla="*/ 815024 w 1213200"/>
              <a:gd name="connsiteY28" fmla="*/ 456625 h 485482"/>
              <a:gd name="connsiteX29" fmla="*/ 815024 w 1213200"/>
              <a:gd name="connsiteY29" fmla="*/ 431575 h 485482"/>
              <a:gd name="connsiteX30" fmla="*/ 793576 w 1213200"/>
              <a:gd name="connsiteY30" fmla="*/ 411297 h 485482"/>
              <a:gd name="connsiteX31" fmla="*/ 221798 w 1213200"/>
              <a:gd name="connsiteY31" fmla="*/ 411297 h 485482"/>
              <a:gd name="connsiteX32" fmla="*/ 200350 w 1213200"/>
              <a:gd name="connsiteY32" fmla="*/ 431575 h 485482"/>
              <a:gd name="connsiteX33" fmla="*/ 200350 w 1213200"/>
              <a:gd name="connsiteY33" fmla="*/ 456625 h 485482"/>
              <a:gd name="connsiteX34" fmla="*/ 221798 w 1213200"/>
              <a:gd name="connsiteY34" fmla="*/ 476903 h 485482"/>
              <a:gd name="connsiteX35" fmla="*/ 243246 w 1213200"/>
              <a:gd name="connsiteY35" fmla="*/ 456625 h 485482"/>
              <a:gd name="connsiteX36" fmla="*/ 243246 w 1213200"/>
              <a:gd name="connsiteY36" fmla="*/ 431575 h 485482"/>
              <a:gd name="connsiteX37" fmla="*/ 221798 w 1213200"/>
              <a:gd name="connsiteY37" fmla="*/ 411297 h 485482"/>
              <a:gd name="connsiteX38" fmla="*/ 1144062 w 1213200"/>
              <a:gd name="connsiteY38" fmla="*/ 404232 h 485482"/>
              <a:gd name="connsiteX39" fmla="*/ 1154660 w 1213200"/>
              <a:gd name="connsiteY39" fmla="*/ 404232 h 485482"/>
              <a:gd name="connsiteX40" fmla="*/ 1178379 w 1213200"/>
              <a:gd name="connsiteY40" fmla="*/ 443596 h 485482"/>
              <a:gd name="connsiteX41" fmla="*/ 1201088 w 1213200"/>
              <a:gd name="connsiteY41" fmla="*/ 404232 h 485482"/>
              <a:gd name="connsiteX42" fmla="*/ 1213200 w 1213200"/>
              <a:gd name="connsiteY42" fmla="*/ 404232 h 485482"/>
              <a:gd name="connsiteX43" fmla="*/ 1183425 w 1213200"/>
              <a:gd name="connsiteY43" fmla="*/ 453184 h 485482"/>
              <a:gd name="connsiteX44" fmla="*/ 1183425 w 1213200"/>
              <a:gd name="connsiteY44" fmla="*/ 484473 h 485482"/>
              <a:gd name="connsiteX45" fmla="*/ 1173837 w 1213200"/>
              <a:gd name="connsiteY45" fmla="*/ 484473 h 485482"/>
              <a:gd name="connsiteX46" fmla="*/ 1173837 w 1213200"/>
              <a:gd name="connsiteY46" fmla="*/ 453184 h 485482"/>
              <a:gd name="connsiteX47" fmla="*/ 1071391 w 1213200"/>
              <a:gd name="connsiteY47" fmla="*/ 404232 h 485482"/>
              <a:gd name="connsiteX48" fmla="*/ 1079466 w 1213200"/>
              <a:gd name="connsiteY48" fmla="*/ 404232 h 485482"/>
              <a:gd name="connsiteX49" fmla="*/ 1121352 w 1213200"/>
              <a:gd name="connsiteY49" fmla="*/ 467315 h 485482"/>
              <a:gd name="connsiteX50" fmla="*/ 1121352 w 1213200"/>
              <a:gd name="connsiteY50" fmla="*/ 404232 h 485482"/>
              <a:gd name="connsiteX51" fmla="*/ 1130941 w 1213200"/>
              <a:gd name="connsiteY51" fmla="*/ 404232 h 485482"/>
              <a:gd name="connsiteX52" fmla="*/ 1130941 w 1213200"/>
              <a:gd name="connsiteY52" fmla="*/ 484473 h 485482"/>
              <a:gd name="connsiteX53" fmla="*/ 1122362 w 1213200"/>
              <a:gd name="connsiteY53" fmla="*/ 484473 h 485482"/>
              <a:gd name="connsiteX54" fmla="*/ 1080980 w 1213200"/>
              <a:gd name="connsiteY54" fmla="*/ 420886 h 485482"/>
              <a:gd name="connsiteX55" fmla="*/ 1080980 w 1213200"/>
              <a:gd name="connsiteY55" fmla="*/ 484473 h 485482"/>
              <a:gd name="connsiteX56" fmla="*/ 1071391 w 1213200"/>
              <a:gd name="connsiteY56" fmla="*/ 484473 h 485482"/>
              <a:gd name="connsiteX57" fmla="*/ 1017392 w 1213200"/>
              <a:gd name="connsiteY57" fmla="*/ 404232 h 485482"/>
              <a:gd name="connsiteX58" fmla="*/ 1029504 w 1213200"/>
              <a:gd name="connsiteY58" fmla="*/ 404232 h 485482"/>
              <a:gd name="connsiteX59" fmla="*/ 1058269 w 1213200"/>
              <a:gd name="connsiteY59" fmla="*/ 484473 h 485482"/>
              <a:gd name="connsiteX60" fmla="*/ 1048681 w 1213200"/>
              <a:gd name="connsiteY60" fmla="*/ 484473 h 485482"/>
              <a:gd name="connsiteX61" fmla="*/ 1040101 w 1213200"/>
              <a:gd name="connsiteY61" fmla="*/ 463782 h 485482"/>
              <a:gd name="connsiteX62" fmla="*/ 1004271 w 1213200"/>
              <a:gd name="connsiteY62" fmla="*/ 463782 h 485482"/>
              <a:gd name="connsiteX63" fmla="*/ 997205 w 1213200"/>
              <a:gd name="connsiteY63" fmla="*/ 484473 h 485482"/>
              <a:gd name="connsiteX64" fmla="*/ 987617 w 1213200"/>
              <a:gd name="connsiteY64" fmla="*/ 484473 h 485482"/>
              <a:gd name="connsiteX65" fmla="*/ 933114 w 1213200"/>
              <a:gd name="connsiteY65" fmla="*/ 404232 h 485482"/>
              <a:gd name="connsiteX66" fmla="*/ 962910 w 1213200"/>
              <a:gd name="connsiteY66" fmla="*/ 404232 h 485482"/>
              <a:gd name="connsiteX67" fmla="*/ 989131 w 1213200"/>
              <a:gd name="connsiteY67" fmla="*/ 429382 h 485482"/>
              <a:gd name="connsiteX68" fmla="*/ 962910 w 1213200"/>
              <a:gd name="connsiteY68" fmla="*/ 454532 h 485482"/>
              <a:gd name="connsiteX69" fmla="*/ 942649 w 1213200"/>
              <a:gd name="connsiteY69" fmla="*/ 454532 h 485482"/>
              <a:gd name="connsiteX70" fmla="*/ 942649 w 1213200"/>
              <a:gd name="connsiteY70" fmla="*/ 484473 h 485482"/>
              <a:gd name="connsiteX71" fmla="*/ 933114 w 1213200"/>
              <a:gd name="connsiteY71" fmla="*/ 484473 h 485482"/>
              <a:gd name="connsiteX72" fmla="*/ 843790 w 1213200"/>
              <a:gd name="connsiteY72" fmla="*/ 404232 h 485482"/>
              <a:gd name="connsiteX73" fmla="*/ 853378 w 1213200"/>
              <a:gd name="connsiteY73" fmla="*/ 404232 h 485482"/>
              <a:gd name="connsiteX74" fmla="*/ 878107 w 1213200"/>
              <a:gd name="connsiteY74" fmla="*/ 452175 h 485482"/>
              <a:gd name="connsiteX75" fmla="*/ 903340 w 1213200"/>
              <a:gd name="connsiteY75" fmla="*/ 404232 h 485482"/>
              <a:gd name="connsiteX76" fmla="*/ 912928 w 1213200"/>
              <a:gd name="connsiteY76" fmla="*/ 404232 h 485482"/>
              <a:gd name="connsiteX77" fmla="*/ 912928 w 1213200"/>
              <a:gd name="connsiteY77" fmla="*/ 484473 h 485482"/>
              <a:gd name="connsiteX78" fmla="*/ 903340 w 1213200"/>
              <a:gd name="connsiteY78" fmla="*/ 484473 h 485482"/>
              <a:gd name="connsiteX79" fmla="*/ 903340 w 1213200"/>
              <a:gd name="connsiteY79" fmla="*/ 423409 h 485482"/>
              <a:gd name="connsiteX80" fmla="*/ 878107 w 1213200"/>
              <a:gd name="connsiteY80" fmla="*/ 469838 h 485482"/>
              <a:gd name="connsiteX81" fmla="*/ 853378 w 1213200"/>
              <a:gd name="connsiteY81" fmla="*/ 423409 h 485482"/>
              <a:gd name="connsiteX82" fmla="*/ 853378 w 1213200"/>
              <a:gd name="connsiteY82" fmla="*/ 484473 h 485482"/>
              <a:gd name="connsiteX83" fmla="*/ 843790 w 1213200"/>
              <a:gd name="connsiteY83" fmla="*/ 484473 h 485482"/>
              <a:gd name="connsiteX84" fmla="*/ 579348 w 1213200"/>
              <a:gd name="connsiteY84" fmla="*/ 404232 h 485482"/>
              <a:gd name="connsiteX85" fmla="*/ 630319 w 1213200"/>
              <a:gd name="connsiteY85" fmla="*/ 404232 h 485482"/>
              <a:gd name="connsiteX86" fmla="*/ 630319 w 1213200"/>
              <a:gd name="connsiteY86" fmla="*/ 412307 h 485482"/>
              <a:gd name="connsiteX87" fmla="*/ 588937 w 1213200"/>
              <a:gd name="connsiteY87" fmla="*/ 412307 h 485482"/>
              <a:gd name="connsiteX88" fmla="*/ 588937 w 1213200"/>
              <a:gd name="connsiteY88" fmla="*/ 440063 h 485482"/>
              <a:gd name="connsiteX89" fmla="*/ 625777 w 1213200"/>
              <a:gd name="connsiteY89" fmla="*/ 440063 h 485482"/>
              <a:gd name="connsiteX90" fmla="*/ 625777 w 1213200"/>
              <a:gd name="connsiteY90" fmla="*/ 448642 h 485482"/>
              <a:gd name="connsiteX91" fmla="*/ 588937 w 1213200"/>
              <a:gd name="connsiteY91" fmla="*/ 448642 h 485482"/>
              <a:gd name="connsiteX92" fmla="*/ 588937 w 1213200"/>
              <a:gd name="connsiteY92" fmla="*/ 475894 h 485482"/>
              <a:gd name="connsiteX93" fmla="*/ 630319 w 1213200"/>
              <a:gd name="connsiteY93" fmla="*/ 475894 h 485482"/>
              <a:gd name="connsiteX94" fmla="*/ 630319 w 1213200"/>
              <a:gd name="connsiteY94" fmla="*/ 484473 h 485482"/>
              <a:gd name="connsiteX95" fmla="*/ 579348 w 1213200"/>
              <a:gd name="connsiteY95" fmla="*/ 484473 h 485482"/>
              <a:gd name="connsiteX96" fmla="*/ 499108 w 1213200"/>
              <a:gd name="connsiteY96" fmla="*/ 404232 h 485482"/>
              <a:gd name="connsiteX97" fmla="*/ 508696 w 1213200"/>
              <a:gd name="connsiteY97" fmla="*/ 404232 h 485482"/>
              <a:gd name="connsiteX98" fmla="*/ 508696 w 1213200"/>
              <a:gd name="connsiteY98" fmla="*/ 440063 h 485482"/>
              <a:gd name="connsiteX99" fmla="*/ 549574 w 1213200"/>
              <a:gd name="connsiteY99" fmla="*/ 440063 h 485482"/>
              <a:gd name="connsiteX100" fmla="*/ 549574 w 1213200"/>
              <a:gd name="connsiteY100" fmla="*/ 404232 h 485482"/>
              <a:gd name="connsiteX101" fmla="*/ 559162 w 1213200"/>
              <a:gd name="connsiteY101" fmla="*/ 404232 h 485482"/>
              <a:gd name="connsiteX102" fmla="*/ 559162 w 1213200"/>
              <a:gd name="connsiteY102" fmla="*/ 484473 h 485482"/>
              <a:gd name="connsiteX103" fmla="*/ 549574 w 1213200"/>
              <a:gd name="connsiteY103" fmla="*/ 484473 h 485482"/>
              <a:gd name="connsiteX104" fmla="*/ 549574 w 1213200"/>
              <a:gd name="connsiteY104" fmla="*/ 448642 h 485482"/>
              <a:gd name="connsiteX105" fmla="*/ 508696 w 1213200"/>
              <a:gd name="connsiteY105" fmla="*/ 448642 h 485482"/>
              <a:gd name="connsiteX106" fmla="*/ 508696 w 1213200"/>
              <a:gd name="connsiteY106" fmla="*/ 484473 h 485482"/>
              <a:gd name="connsiteX107" fmla="*/ 499108 w 1213200"/>
              <a:gd name="connsiteY107" fmla="*/ 484473 h 485482"/>
              <a:gd name="connsiteX108" fmla="*/ 272011 w 1213200"/>
              <a:gd name="connsiteY108" fmla="*/ 404232 h 485482"/>
              <a:gd name="connsiteX109" fmla="*/ 302900 w 1213200"/>
              <a:gd name="connsiteY109" fmla="*/ 404232 h 485482"/>
              <a:gd name="connsiteX110" fmla="*/ 329037 w 1213200"/>
              <a:gd name="connsiteY110" fmla="*/ 429382 h 485482"/>
              <a:gd name="connsiteX111" fmla="*/ 313592 w 1213200"/>
              <a:gd name="connsiteY111" fmla="*/ 452137 h 485482"/>
              <a:gd name="connsiteX112" fmla="*/ 329037 w 1213200"/>
              <a:gd name="connsiteY112" fmla="*/ 484473 h 485482"/>
              <a:gd name="connsiteX113" fmla="*/ 318345 w 1213200"/>
              <a:gd name="connsiteY113" fmla="*/ 484473 h 485482"/>
              <a:gd name="connsiteX114" fmla="*/ 304088 w 1213200"/>
              <a:gd name="connsiteY114" fmla="*/ 454532 h 485482"/>
              <a:gd name="connsiteX115" fmla="*/ 281515 w 1213200"/>
              <a:gd name="connsiteY115" fmla="*/ 454532 h 485482"/>
              <a:gd name="connsiteX116" fmla="*/ 281515 w 1213200"/>
              <a:gd name="connsiteY116" fmla="*/ 484473 h 485482"/>
              <a:gd name="connsiteX117" fmla="*/ 272011 w 1213200"/>
              <a:gd name="connsiteY117" fmla="*/ 484473 h 485482"/>
              <a:gd name="connsiteX118" fmla="*/ 122632 w 1213200"/>
              <a:gd name="connsiteY118" fmla="*/ 404232 h 485482"/>
              <a:gd name="connsiteX119" fmla="*/ 152428 w 1213200"/>
              <a:gd name="connsiteY119" fmla="*/ 404232 h 485482"/>
              <a:gd name="connsiteX120" fmla="*/ 178649 w 1213200"/>
              <a:gd name="connsiteY120" fmla="*/ 429382 h 485482"/>
              <a:gd name="connsiteX121" fmla="*/ 152428 w 1213200"/>
              <a:gd name="connsiteY121" fmla="*/ 454532 h 485482"/>
              <a:gd name="connsiteX122" fmla="*/ 132167 w 1213200"/>
              <a:gd name="connsiteY122" fmla="*/ 454532 h 485482"/>
              <a:gd name="connsiteX123" fmla="*/ 132167 w 1213200"/>
              <a:gd name="connsiteY123" fmla="*/ 484473 h 485482"/>
              <a:gd name="connsiteX124" fmla="*/ 122632 w 1213200"/>
              <a:gd name="connsiteY124" fmla="*/ 484473 h 485482"/>
              <a:gd name="connsiteX125" fmla="*/ 29775 w 1213200"/>
              <a:gd name="connsiteY125" fmla="*/ 404232 h 485482"/>
              <a:gd name="connsiteX126" fmla="*/ 41887 w 1213200"/>
              <a:gd name="connsiteY126" fmla="*/ 404232 h 485482"/>
              <a:gd name="connsiteX127" fmla="*/ 71662 w 1213200"/>
              <a:gd name="connsiteY127" fmla="*/ 484473 h 485482"/>
              <a:gd name="connsiteX128" fmla="*/ 61064 w 1213200"/>
              <a:gd name="connsiteY128" fmla="*/ 484473 h 485482"/>
              <a:gd name="connsiteX129" fmla="*/ 53999 w 1213200"/>
              <a:gd name="connsiteY129" fmla="*/ 463782 h 485482"/>
              <a:gd name="connsiteX130" fmla="*/ 18168 w 1213200"/>
              <a:gd name="connsiteY130" fmla="*/ 463782 h 485482"/>
              <a:gd name="connsiteX131" fmla="*/ 9589 w 1213200"/>
              <a:gd name="connsiteY131" fmla="*/ 484473 h 485482"/>
              <a:gd name="connsiteX132" fmla="*/ 0 w 1213200"/>
              <a:gd name="connsiteY132" fmla="*/ 484473 h 485482"/>
              <a:gd name="connsiteX133" fmla="*/ 793576 w 1213200"/>
              <a:gd name="connsiteY133" fmla="*/ 402718 h 485482"/>
              <a:gd name="connsiteX134" fmla="*/ 824613 w 1213200"/>
              <a:gd name="connsiteY134" fmla="*/ 431505 h 485482"/>
              <a:gd name="connsiteX135" fmla="*/ 824613 w 1213200"/>
              <a:gd name="connsiteY135" fmla="*/ 456695 h 485482"/>
              <a:gd name="connsiteX136" fmla="*/ 793576 w 1213200"/>
              <a:gd name="connsiteY136" fmla="*/ 485482 h 485482"/>
              <a:gd name="connsiteX137" fmla="*/ 762540 w 1213200"/>
              <a:gd name="connsiteY137" fmla="*/ 456695 h 485482"/>
              <a:gd name="connsiteX138" fmla="*/ 762540 w 1213200"/>
              <a:gd name="connsiteY138" fmla="*/ 431505 h 485482"/>
              <a:gd name="connsiteX139" fmla="*/ 793576 w 1213200"/>
              <a:gd name="connsiteY139" fmla="*/ 402718 h 485482"/>
              <a:gd name="connsiteX140" fmla="*/ 718476 w 1213200"/>
              <a:gd name="connsiteY140" fmla="*/ 402718 h 485482"/>
              <a:gd name="connsiteX141" fmla="*/ 748409 w 1213200"/>
              <a:gd name="connsiteY141" fmla="*/ 429107 h 485482"/>
              <a:gd name="connsiteX142" fmla="*/ 748409 w 1213200"/>
              <a:gd name="connsiteY142" fmla="*/ 430306 h 485482"/>
              <a:gd name="connsiteX143" fmla="*/ 738830 w 1213200"/>
              <a:gd name="connsiteY143" fmla="*/ 430306 h 485482"/>
              <a:gd name="connsiteX144" fmla="*/ 738830 w 1213200"/>
              <a:gd name="connsiteY144" fmla="*/ 429107 h 485482"/>
              <a:gd name="connsiteX145" fmla="*/ 718476 w 1213200"/>
              <a:gd name="connsiteY145" fmla="*/ 411114 h 485482"/>
              <a:gd name="connsiteX146" fmla="*/ 696924 w 1213200"/>
              <a:gd name="connsiteY146" fmla="*/ 431505 h 485482"/>
              <a:gd name="connsiteX147" fmla="*/ 696924 w 1213200"/>
              <a:gd name="connsiteY147" fmla="*/ 456695 h 485482"/>
              <a:gd name="connsiteX148" fmla="*/ 718476 w 1213200"/>
              <a:gd name="connsiteY148" fmla="*/ 477086 h 485482"/>
              <a:gd name="connsiteX149" fmla="*/ 738830 w 1213200"/>
              <a:gd name="connsiteY149" fmla="*/ 459093 h 485482"/>
              <a:gd name="connsiteX150" fmla="*/ 748409 w 1213200"/>
              <a:gd name="connsiteY150" fmla="*/ 459093 h 485482"/>
              <a:gd name="connsiteX151" fmla="*/ 718476 w 1213200"/>
              <a:gd name="connsiteY151" fmla="*/ 485482 h 485482"/>
              <a:gd name="connsiteX152" fmla="*/ 687345 w 1213200"/>
              <a:gd name="connsiteY152" fmla="*/ 456695 h 485482"/>
              <a:gd name="connsiteX153" fmla="*/ 687345 w 1213200"/>
              <a:gd name="connsiteY153" fmla="*/ 431505 h 485482"/>
              <a:gd name="connsiteX154" fmla="*/ 718476 w 1213200"/>
              <a:gd name="connsiteY154" fmla="*/ 402718 h 485482"/>
              <a:gd name="connsiteX155" fmla="*/ 450572 w 1213200"/>
              <a:gd name="connsiteY155" fmla="*/ 402718 h 485482"/>
              <a:gd name="connsiteX156" fmla="*/ 481445 w 1213200"/>
              <a:gd name="connsiteY156" fmla="*/ 429107 h 485482"/>
              <a:gd name="connsiteX157" fmla="*/ 481445 w 1213200"/>
              <a:gd name="connsiteY157" fmla="*/ 430306 h 485482"/>
              <a:gd name="connsiteX158" fmla="*/ 471946 w 1213200"/>
              <a:gd name="connsiteY158" fmla="*/ 430306 h 485482"/>
              <a:gd name="connsiteX159" fmla="*/ 471946 w 1213200"/>
              <a:gd name="connsiteY159" fmla="*/ 429107 h 485482"/>
              <a:gd name="connsiteX160" fmla="*/ 450572 w 1213200"/>
              <a:gd name="connsiteY160" fmla="*/ 411114 h 485482"/>
              <a:gd name="connsiteX161" fmla="*/ 430385 w 1213200"/>
              <a:gd name="connsiteY161" fmla="*/ 431505 h 485482"/>
              <a:gd name="connsiteX162" fmla="*/ 430385 w 1213200"/>
              <a:gd name="connsiteY162" fmla="*/ 456695 h 485482"/>
              <a:gd name="connsiteX163" fmla="*/ 450572 w 1213200"/>
              <a:gd name="connsiteY163" fmla="*/ 477086 h 485482"/>
              <a:gd name="connsiteX164" fmla="*/ 471946 w 1213200"/>
              <a:gd name="connsiteY164" fmla="*/ 459093 h 485482"/>
              <a:gd name="connsiteX165" fmla="*/ 481445 w 1213200"/>
              <a:gd name="connsiteY165" fmla="*/ 459093 h 485482"/>
              <a:gd name="connsiteX166" fmla="*/ 450572 w 1213200"/>
              <a:gd name="connsiteY166" fmla="*/ 485482 h 485482"/>
              <a:gd name="connsiteX167" fmla="*/ 420886 w 1213200"/>
              <a:gd name="connsiteY167" fmla="*/ 456695 h 485482"/>
              <a:gd name="connsiteX168" fmla="*/ 420886 w 1213200"/>
              <a:gd name="connsiteY168" fmla="*/ 431505 h 485482"/>
              <a:gd name="connsiteX169" fmla="*/ 450572 w 1213200"/>
              <a:gd name="connsiteY169" fmla="*/ 402718 h 485482"/>
              <a:gd name="connsiteX170" fmla="*/ 374364 w 1213200"/>
              <a:gd name="connsiteY170" fmla="*/ 402718 h 485482"/>
              <a:gd name="connsiteX171" fmla="*/ 403036 w 1213200"/>
              <a:gd name="connsiteY171" fmla="*/ 426708 h 485482"/>
              <a:gd name="connsiteX172" fmla="*/ 403036 w 1213200"/>
              <a:gd name="connsiteY172" fmla="*/ 427907 h 485482"/>
              <a:gd name="connsiteX173" fmla="*/ 393479 w 1213200"/>
              <a:gd name="connsiteY173" fmla="*/ 427907 h 485482"/>
              <a:gd name="connsiteX174" fmla="*/ 393479 w 1213200"/>
              <a:gd name="connsiteY174" fmla="*/ 426708 h 485482"/>
              <a:gd name="connsiteX175" fmla="*/ 374364 w 1213200"/>
              <a:gd name="connsiteY175" fmla="*/ 411114 h 485482"/>
              <a:gd name="connsiteX176" fmla="*/ 356443 w 1213200"/>
              <a:gd name="connsiteY176" fmla="*/ 424309 h 485482"/>
              <a:gd name="connsiteX177" fmla="*/ 368390 w 1213200"/>
              <a:gd name="connsiteY177" fmla="*/ 437503 h 485482"/>
              <a:gd name="connsiteX178" fmla="*/ 383921 w 1213200"/>
              <a:gd name="connsiteY178" fmla="*/ 441101 h 485482"/>
              <a:gd name="connsiteX179" fmla="*/ 404231 w 1213200"/>
              <a:gd name="connsiteY179" fmla="*/ 462692 h 485482"/>
              <a:gd name="connsiteX180" fmla="*/ 374364 w 1213200"/>
              <a:gd name="connsiteY180" fmla="*/ 485482 h 485482"/>
              <a:gd name="connsiteX181" fmla="*/ 345691 w 1213200"/>
              <a:gd name="connsiteY181" fmla="*/ 461492 h 485482"/>
              <a:gd name="connsiteX182" fmla="*/ 345691 w 1213200"/>
              <a:gd name="connsiteY182" fmla="*/ 460293 h 485482"/>
              <a:gd name="connsiteX183" fmla="*/ 355249 w 1213200"/>
              <a:gd name="connsiteY183" fmla="*/ 460293 h 485482"/>
              <a:gd name="connsiteX184" fmla="*/ 355249 w 1213200"/>
              <a:gd name="connsiteY184" fmla="*/ 461492 h 485482"/>
              <a:gd name="connsiteX185" fmla="*/ 374364 w 1213200"/>
              <a:gd name="connsiteY185" fmla="*/ 477086 h 485482"/>
              <a:gd name="connsiteX186" fmla="*/ 393479 w 1213200"/>
              <a:gd name="connsiteY186" fmla="*/ 462692 h 485482"/>
              <a:gd name="connsiteX187" fmla="*/ 381532 w 1213200"/>
              <a:gd name="connsiteY187" fmla="*/ 449498 h 485482"/>
              <a:gd name="connsiteX188" fmla="*/ 366001 w 1213200"/>
              <a:gd name="connsiteY188" fmla="*/ 447099 h 485482"/>
              <a:gd name="connsiteX189" fmla="*/ 346886 w 1213200"/>
              <a:gd name="connsiteY189" fmla="*/ 425508 h 485482"/>
              <a:gd name="connsiteX190" fmla="*/ 374364 w 1213200"/>
              <a:gd name="connsiteY190" fmla="*/ 402718 h 485482"/>
              <a:gd name="connsiteX191" fmla="*/ 221798 w 1213200"/>
              <a:gd name="connsiteY191" fmla="*/ 402718 h 485482"/>
              <a:gd name="connsiteX192" fmla="*/ 252834 w 1213200"/>
              <a:gd name="connsiteY192" fmla="*/ 431505 h 485482"/>
              <a:gd name="connsiteX193" fmla="*/ 252834 w 1213200"/>
              <a:gd name="connsiteY193" fmla="*/ 456695 h 485482"/>
              <a:gd name="connsiteX194" fmla="*/ 221798 w 1213200"/>
              <a:gd name="connsiteY194" fmla="*/ 485482 h 485482"/>
              <a:gd name="connsiteX195" fmla="*/ 190761 w 1213200"/>
              <a:gd name="connsiteY195" fmla="*/ 456695 h 485482"/>
              <a:gd name="connsiteX196" fmla="*/ 190761 w 1213200"/>
              <a:gd name="connsiteY196" fmla="*/ 431505 h 485482"/>
              <a:gd name="connsiteX197" fmla="*/ 221798 w 1213200"/>
              <a:gd name="connsiteY197" fmla="*/ 402718 h 485482"/>
              <a:gd name="connsiteX198" fmla="*/ 1049691 w 1213200"/>
              <a:gd name="connsiteY198" fmla="*/ 43905 h 485482"/>
              <a:gd name="connsiteX199" fmla="*/ 1049691 w 1213200"/>
              <a:gd name="connsiteY199" fmla="*/ 130202 h 485482"/>
              <a:gd name="connsiteX200" fmla="*/ 1114157 w 1213200"/>
              <a:gd name="connsiteY200" fmla="*/ 130202 h 485482"/>
              <a:gd name="connsiteX201" fmla="*/ 1160716 w 1213200"/>
              <a:gd name="connsiteY201" fmla="*/ 87054 h 485482"/>
              <a:gd name="connsiteX202" fmla="*/ 1114157 w 1213200"/>
              <a:gd name="connsiteY202" fmla="*/ 43905 h 485482"/>
              <a:gd name="connsiteX203" fmla="*/ 1049691 w 1213200"/>
              <a:gd name="connsiteY203" fmla="*/ 43905 h 485482"/>
              <a:gd name="connsiteX204" fmla="*/ 999729 w 1213200"/>
              <a:gd name="connsiteY204" fmla="*/ 0 h 485482"/>
              <a:gd name="connsiteX205" fmla="*/ 1115234 w 1213200"/>
              <a:gd name="connsiteY205" fmla="*/ 0 h 485482"/>
              <a:gd name="connsiteX206" fmla="*/ 1211686 w 1213200"/>
              <a:gd name="connsiteY206" fmla="*/ 87253 h 485482"/>
              <a:gd name="connsiteX207" fmla="*/ 1115234 w 1213200"/>
              <a:gd name="connsiteY207" fmla="*/ 173311 h 485482"/>
              <a:gd name="connsiteX208" fmla="*/ 1049741 w 1213200"/>
              <a:gd name="connsiteY208" fmla="*/ 173311 h 485482"/>
              <a:gd name="connsiteX209" fmla="*/ 1049741 w 1213200"/>
              <a:gd name="connsiteY209" fmla="*/ 295226 h 485482"/>
              <a:gd name="connsiteX210" fmla="*/ 999729 w 1213200"/>
              <a:gd name="connsiteY210" fmla="*/ 295226 h 485482"/>
              <a:gd name="connsiteX211" fmla="*/ 999729 w 1213200"/>
              <a:gd name="connsiteY211" fmla="*/ 0 h 485482"/>
              <a:gd name="connsiteX212" fmla="*/ 717625 w 1213200"/>
              <a:gd name="connsiteY212" fmla="*/ 0 h 485482"/>
              <a:gd name="connsiteX213" fmla="*/ 767586 w 1213200"/>
              <a:gd name="connsiteY213" fmla="*/ 0 h 485482"/>
              <a:gd name="connsiteX214" fmla="*/ 767586 w 1213200"/>
              <a:gd name="connsiteY214" fmla="*/ 129193 h 485482"/>
              <a:gd name="connsiteX215" fmla="*/ 893751 w 1213200"/>
              <a:gd name="connsiteY215" fmla="*/ 129193 h 485482"/>
              <a:gd name="connsiteX216" fmla="*/ 893751 w 1213200"/>
              <a:gd name="connsiteY216" fmla="*/ 0 h 485482"/>
              <a:gd name="connsiteX217" fmla="*/ 943712 w 1213200"/>
              <a:gd name="connsiteY217" fmla="*/ 0 h 485482"/>
              <a:gd name="connsiteX218" fmla="*/ 943712 w 1213200"/>
              <a:gd name="connsiteY218" fmla="*/ 295226 h 485482"/>
              <a:gd name="connsiteX219" fmla="*/ 893751 w 1213200"/>
              <a:gd name="connsiteY219" fmla="*/ 295226 h 485482"/>
              <a:gd name="connsiteX220" fmla="*/ 893751 w 1213200"/>
              <a:gd name="connsiteY220" fmla="*/ 173098 h 485482"/>
              <a:gd name="connsiteX221" fmla="*/ 767586 w 1213200"/>
              <a:gd name="connsiteY221" fmla="*/ 173098 h 485482"/>
              <a:gd name="connsiteX222" fmla="*/ 767586 w 1213200"/>
              <a:gd name="connsiteY222" fmla="*/ 295226 h 485482"/>
              <a:gd name="connsiteX223" fmla="*/ 717625 w 1213200"/>
              <a:gd name="connsiteY223" fmla="*/ 295226 h 485482"/>
              <a:gd name="connsiteX224" fmla="*/ 401708 w 1213200"/>
              <a:gd name="connsiteY224" fmla="*/ 0 h 485482"/>
              <a:gd name="connsiteX225" fmla="*/ 448137 w 1213200"/>
              <a:gd name="connsiteY225" fmla="*/ 0 h 485482"/>
              <a:gd name="connsiteX226" fmla="*/ 531405 w 1213200"/>
              <a:gd name="connsiteY226" fmla="*/ 135249 h 485482"/>
              <a:gd name="connsiteX227" fmla="*/ 616188 w 1213200"/>
              <a:gd name="connsiteY227" fmla="*/ 0 h 485482"/>
              <a:gd name="connsiteX228" fmla="*/ 661607 w 1213200"/>
              <a:gd name="connsiteY228" fmla="*/ 0 h 485482"/>
              <a:gd name="connsiteX229" fmla="*/ 661607 w 1213200"/>
              <a:gd name="connsiteY229" fmla="*/ 295226 h 485482"/>
              <a:gd name="connsiteX230" fmla="*/ 612655 w 1213200"/>
              <a:gd name="connsiteY230" fmla="*/ 295226 h 485482"/>
              <a:gd name="connsiteX231" fmla="*/ 612655 w 1213200"/>
              <a:gd name="connsiteY231" fmla="*/ 93362 h 485482"/>
              <a:gd name="connsiteX232" fmla="*/ 531405 w 1213200"/>
              <a:gd name="connsiteY232" fmla="*/ 221041 h 485482"/>
              <a:gd name="connsiteX233" fmla="*/ 451669 w 1213200"/>
              <a:gd name="connsiteY233" fmla="*/ 93362 h 485482"/>
              <a:gd name="connsiteX234" fmla="*/ 451669 w 1213200"/>
              <a:gd name="connsiteY234" fmla="*/ 295226 h 485482"/>
              <a:gd name="connsiteX235" fmla="*/ 401708 w 1213200"/>
              <a:gd name="connsiteY235" fmla="*/ 295226 h 485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1213200" h="485482">
                <a:moveTo>
                  <a:pt x="1022440" y="413820"/>
                </a:moveTo>
                <a:lnTo>
                  <a:pt x="1006795" y="455707"/>
                </a:lnTo>
                <a:lnTo>
                  <a:pt x="1038084" y="455707"/>
                </a:lnTo>
                <a:close/>
                <a:moveTo>
                  <a:pt x="35830" y="413820"/>
                </a:moveTo>
                <a:lnTo>
                  <a:pt x="20186" y="455707"/>
                </a:lnTo>
                <a:lnTo>
                  <a:pt x="51475" y="455707"/>
                </a:lnTo>
                <a:close/>
                <a:moveTo>
                  <a:pt x="942703" y="412306"/>
                </a:moveTo>
                <a:lnTo>
                  <a:pt x="942703" y="446118"/>
                </a:lnTo>
                <a:cubicBezTo>
                  <a:pt x="962906" y="446118"/>
                  <a:pt x="962906" y="446118"/>
                  <a:pt x="962906" y="446118"/>
                </a:cubicBezTo>
                <a:cubicBezTo>
                  <a:pt x="972413" y="446118"/>
                  <a:pt x="979543" y="441288"/>
                  <a:pt x="979543" y="429212"/>
                </a:cubicBezTo>
                <a:cubicBezTo>
                  <a:pt x="979543" y="417136"/>
                  <a:pt x="972413" y="412306"/>
                  <a:pt x="962906" y="412306"/>
                </a:cubicBezTo>
                <a:cubicBezTo>
                  <a:pt x="942703" y="412306"/>
                  <a:pt x="942703" y="412306"/>
                  <a:pt x="942703" y="412306"/>
                </a:cubicBezTo>
                <a:close/>
                <a:moveTo>
                  <a:pt x="281095" y="412306"/>
                </a:moveTo>
                <a:lnTo>
                  <a:pt x="281095" y="446118"/>
                </a:lnTo>
                <a:cubicBezTo>
                  <a:pt x="302669" y="446118"/>
                  <a:pt x="302669" y="446118"/>
                  <a:pt x="302669" y="446118"/>
                </a:cubicBezTo>
                <a:cubicBezTo>
                  <a:pt x="312258" y="446118"/>
                  <a:pt x="319449" y="441288"/>
                  <a:pt x="319449" y="429212"/>
                </a:cubicBezTo>
                <a:cubicBezTo>
                  <a:pt x="319449" y="417136"/>
                  <a:pt x="312258" y="412306"/>
                  <a:pt x="302669" y="412306"/>
                </a:cubicBezTo>
                <a:cubicBezTo>
                  <a:pt x="281095" y="412306"/>
                  <a:pt x="281095" y="412306"/>
                  <a:pt x="281095" y="412306"/>
                </a:cubicBezTo>
                <a:close/>
                <a:moveTo>
                  <a:pt x="132221" y="412306"/>
                </a:moveTo>
                <a:lnTo>
                  <a:pt x="132221" y="446118"/>
                </a:lnTo>
                <a:cubicBezTo>
                  <a:pt x="152525" y="446118"/>
                  <a:pt x="152525" y="446118"/>
                  <a:pt x="152525" y="446118"/>
                </a:cubicBezTo>
                <a:cubicBezTo>
                  <a:pt x="162080" y="446118"/>
                  <a:pt x="168052" y="441288"/>
                  <a:pt x="168052" y="429212"/>
                </a:cubicBezTo>
                <a:cubicBezTo>
                  <a:pt x="168052" y="417136"/>
                  <a:pt x="162080" y="412306"/>
                  <a:pt x="152525" y="412306"/>
                </a:cubicBezTo>
                <a:cubicBezTo>
                  <a:pt x="132221" y="412306"/>
                  <a:pt x="132221" y="412306"/>
                  <a:pt x="132221" y="412306"/>
                </a:cubicBezTo>
                <a:close/>
                <a:moveTo>
                  <a:pt x="793576" y="411297"/>
                </a:moveTo>
                <a:cubicBezTo>
                  <a:pt x="780469" y="411297"/>
                  <a:pt x="772128" y="418454"/>
                  <a:pt x="772128" y="431575"/>
                </a:cubicBezTo>
                <a:cubicBezTo>
                  <a:pt x="772128" y="456625"/>
                  <a:pt x="772128" y="456625"/>
                  <a:pt x="772128" y="456625"/>
                </a:cubicBezTo>
                <a:cubicBezTo>
                  <a:pt x="772128" y="469746"/>
                  <a:pt x="780469" y="476903"/>
                  <a:pt x="793576" y="476903"/>
                </a:cubicBezTo>
                <a:cubicBezTo>
                  <a:pt x="807875" y="476903"/>
                  <a:pt x="815024" y="469746"/>
                  <a:pt x="815024" y="456625"/>
                </a:cubicBezTo>
                <a:lnTo>
                  <a:pt x="815024" y="431575"/>
                </a:lnTo>
                <a:cubicBezTo>
                  <a:pt x="815024" y="418454"/>
                  <a:pt x="807875" y="411297"/>
                  <a:pt x="793576" y="411297"/>
                </a:cubicBezTo>
                <a:close/>
                <a:moveTo>
                  <a:pt x="221798" y="411297"/>
                </a:moveTo>
                <a:cubicBezTo>
                  <a:pt x="207499" y="411297"/>
                  <a:pt x="200350" y="418454"/>
                  <a:pt x="200350" y="431575"/>
                </a:cubicBezTo>
                <a:cubicBezTo>
                  <a:pt x="200350" y="456625"/>
                  <a:pt x="200350" y="456625"/>
                  <a:pt x="200350" y="456625"/>
                </a:cubicBezTo>
                <a:cubicBezTo>
                  <a:pt x="200350" y="469746"/>
                  <a:pt x="207499" y="476903"/>
                  <a:pt x="221798" y="476903"/>
                </a:cubicBezTo>
                <a:cubicBezTo>
                  <a:pt x="234905" y="476903"/>
                  <a:pt x="243246" y="469746"/>
                  <a:pt x="243246" y="456625"/>
                </a:cubicBezTo>
                <a:lnTo>
                  <a:pt x="243246" y="431575"/>
                </a:lnTo>
                <a:cubicBezTo>
                  <a:pt x="243246" y="418454"/>
                  <a:pt x="234905" y="411297"/>
                  <a:pt x="221798" y="411297"/>
                </a:cubicBezTo>
                <a:close/>
                <a:moveTo>
                  <a:pt x="1144062" y="404232"/>
                </a:moveTo>
                <a:lnTo>
                  <a:pt x="1154660" y="404232"/>
                </a:lnTo>
                <a:lnTo>
                  <a:pt x="1178379" y="443596"/>
                </a:lnTo>
                <a:lnTo>
                  <a:pt x="1201088" y="404232"/>
                </a:lnTo>
                <a:lnTo>
                  <a:pt x="1213200" y="404232"/>
                </a:lnTo>
                <a:lnTo>
                  <a:pt x="1183425" y="453184"/>
                </a:lnTo>
                <a:lnTo>
                  <a:pt x="1183425" y="484473"/>
                </a:lnTo>
                <a:lnTo>
                  <a:pt x="1173837" y="484473"/>
                </a:lnTo>
                <a:lnTo>
                  <a:pt x="1173837" y="453184"/>
                </a:lnTo>
                <a:close/>
                <a:moveTo>
                  <a:pt x="1071391" y="404232"/>
                </a:moveTo>
                <a:lnTo>
                  <a:pt x="1079466" y="404232"/>
                </a:lnTo>
                <a:lnTo>
                  <a:pt x="1121352" y="467315"/>
                </a:lnTo>
                <a:lnTo>
                  <a:pt x="1121352" y="404232"/>
                </a:lnTo>
                <a:lnTo>
                  <a:pt x="1130941" y="404232"/>
                </a:lnTo>
                <a:lnTo>
                  <a:pt x="1130941" y="484473"/>
                </a:lnTo>
                <a:lnTo>
                  <a:pt x="1122362" y="484473"/>
                </a:lnTo>
                <a:lnTo>
                  <a:pt x="1080980" y="420886"/>
                </a:lnTo>
                <a:lnTo>
                  <a:pt x="1080980" y="484473"/>
                </a:lnTo>
                <a:lnTo>
                  <a:pt x="1071391" y="484473"/>
                </a:lnTo>
                <a:close/>
                <a:moveTo>
                  <a:pt x="1017392" y="404232"/>
                </a:moveTo>
                <a:lnTo>
                  <a:pt x="1029504" y="404232"/>
                </a:lnTo>
                <a:lnTo>
                  <a:pt x="1058269" y="484473"/>
                </a:lnTo>
                <a:lnTo>
                  <a:pt x="1048681" y="484473"/>
                </a:lnTo>
                <a:lnTo>
                  <a:pt x="1040101" y="463782"/>
                </a:lnTo>
                <a:lnTo>
                  <a:pt x="1004271" y="463782"/>
                </a:lnTo>
                <a:lnTo>
                  <a:pt x="997205" y="484473"/>
                </a:lnTo>
                <a:lnTo>
                  <a:pt x="987617" y="484473"/>
                </a:lnTo>
                <a:close/>
                <a:moveTo>
                  <a:pt x="933114" y="404232"/>
                </a:moveTo>
                <a:cubicBezTo>
                  <a:pt x="962910" y="404232"/>
                  <a:pt x="962910" y="404232"/>
                  <a:pt x="962910" y="404232"/>
                </a:cubicBezTo>
                <a:cubicBezTo>
                  <a:pt x="978404" y="404232"/>
                  <a:pt x="989131" y="411418"/>
                  <a:pt x="989131" y="429382"/>
                </a:cubicBezTo>
                <a:cubicBezTo>
                  <a:pt x="989131" y="446149"/>
                  <a:pt x="978404" y="454532"/>
                  <a:pt x="962910" y="454532"/>
                </a:cubicBezTo>
                <a:cubicBezTo>
                  <a:pt x="942649" y="454532"/>
                  <a:pt x="942649" y="454532"/>
                  <a:pt x="942649" y="454532"/>
                </a:cubicBezTo>
                <a:cubicBezTo>
                  <a:pt x="942649" y="484473"/>
                  <a:pt x="942649" y="484473"/>
                  <a:pt x="942649" y="484473"/>
                </a:cubicBezTo>
                <a:cubicBezTo>
                  <a:pt x="933114" y="484473"/>
                  <a:pt x="933114" y="484473"/>
                  <a:pt x="933114" y="484473"/>
                </a:cubicBezTo>
                <a:close/>
                <a:moveTo>
                  <a:pt x="843790" y="404232"/>
                </a:moveTo>
                <a:lnTo>
                  <a:pt x="853378" y="404232"/>
                </a:lnTo>
                <a:lnTo>
                  <a:pt x="878107" y="452175"/>
                </a:lnTo>
                <a:lnTo>
                  <a:pt x="903340" y="404232"/>
                </a:lnTo>
                <a:lnTo>
                  <a:pt x="912928" y="404232"/>
                </a:lnTo>
                <a:lnTo>
                  <a:pt x="912928" y="484473"/>
                </a:lnTo>
                <a:lnTo>
                  <a:pt x="903340" y="484473"/>
                </a:lnTo>
                <a:lnTo>
                  <a:pt x="903340" y="423409"/>
                </a:lnTo>
                <a:lnTo>
                  <a:pt x="878107" y="469838"/>
                </a:lnTo>
                <a:lnTo>
                  <a:pt x="853378" y="423409"/>
                </a:lnTo>
                <a:lnTo>
                  <a:pt x="853378" y="484473"/>
                </a:lnTo>
                <a:lnTo>
                  <a:pt x="843790" y="484473"/>
                </a:lnTo>
                <a:close/>
                <a:moveTo>
                  <a:pt x="579348" y="404232"/>
                </a:moveTo>
                <a:lnTo>
                  <a:pt x="630319" y="404232"/>
                </a:lnTo>
                <a:lnTo>
                  <a:pt x="630319" y="412307"/>
                </a:lnTo>
                <a:lnTo>
                  <a:pt x="588937" y="412307"/>
                </a:lnTo>
                <a:lnTo>
                  <a:pt x="588937" y="440063"/>
                </a:lnTo>
                <a:lnTo>
                  <a:pt x="625777" y="440063"/>
                </a:lnTo>
                <a:lnTo>
                  <a:pt x="625777" y="448642"/>
                </a:lnTo>
                <a:lnTo>
                  <a:pt x="588937" y="448642"/>
                </a:lnTo>
                <a:lnTo>
                  <a:pt x="588937" y="475894"/>
                </a:lnTo>
                <a:lnTo>
                  <a:pt x="630319" y="475894"/>
                </a:lnTo>
                <a:lnTo>
                  <a:pt x="630319" y="484473"/>
                </a:lnTo>
                <a:lnTo>
                  <a:pt x="579348" y="484473"/>
                </a:lnTo>
                <a:close/>
                <a:moveTo>
                  <a:pt x="499108" y="404232"/>
                </a:moveTo>
                <a:lnTo>
                  <a:pt x="508696" y="404232"/>
                </a:lnTo>
                <a:lnTo>
                  <a:pt x="508696" y="440063"/>
                </a:lnTo>
                <a:lnTo>
                  <a:pt x="549574" y="440063"/>
                </a:lnTo>
                <a:lnTo>
                  <a:pt x="549574" y="404232"/>
                </a:lnTo>
                <a:lnTo>
                  <a:pt x="559162" y="404232"/>
                </a:lnTo>
                <a:lnTo>
                  <a:pt x="559162" y="484473"/>
                </a:lnTo>
                <a:lnTo>
                  <a:pt x="549574" y="484473"/>
                </a:lnTo>
                <a:lnTo>
                  <a:pt x="549574" y="448642"/>
                </a:lnTo>
                <a:lnTo>
                  <a:pt x="508696" y="448642"/>
                </a:lnTo>
                <a:lnTo>
                  <a:pt x="508696" y="484473"/>
                </a:lnTo>
                <a:lnTo>
                  <a:pt x="499108" y="484473"/>
                </a:lnTo>
                <a:close/>
                <a:moveTo>
                  <a:pt x="272011" y="404232"/>
                </a:moveTo>
                <a:cubicBezTo>
                  <a:pt x="302900" y="404232"/>
                  <a:pt x="302900" y="404232"/>
                  <a:pt x="302900" y="404232"/>
                </a:cubicBezTo>
                <a:cubicBezTo>
                  <a:pt x="318345" y="404232"/>
                  <a:pt x="329037" y="411418"/>
                  <a:pt x="329037" y="429382"/>
                </a:cubicBezTo>
                <a:cubicBezTo>
                  <a:pt x="329037" y="442556"/>
                  <a:pt x="323097" y="449742"/>
                  <a:pt x="313592" y="452137"/>
                </a:cubicBezTo>
                <a:cubicBezTo>
                  <a:pt x="329037" y="484473"/>
                  <a:pt x="329037" y="484473"/>
                  <a:pt x="329037" y="484473"/>
                </a:cubicBezTo>
                <a:cubicBezTo>
                  <a:pt x="318345" y="484473"/>
                  <a:pt x="318345" y="484473"/>
                  <a:pt x="318345" y="484473"/>
                </a:cubicBezTo>
                <a:cubicBezTo>
                  <a:pt x="304088" y="454532"/>
                  <a:pt x="304088" y="454532"/>
                  <a:pt x="304088" y="454532"/>
                </a:cubicBezTo>
                <a:cubicBezTo>
                  <a:pt x="281515" y="454532"/>
                  <a:pt x="281515" y="454532"/>
                  <a:pt x="281515" y="454532"/>
                </a:cubicBezTo>
                <a:cubicBezTo>
                  <a:pt x="281515" y="484473"/>
                  <a:pt x="281515" y="484473"/>
                  <a:pt x="281515" y="484473"/>
                </a:cubicBezTo>
                <a:cubicBezTo>
                  <a:pt x="272011" y="484473"/>
                  <a:pt x="272011" y="484473"/>
                  <a:pt x="272011" y="484473"/>
                </a:cubicBezTo>
                <a:close/>
                <a:moveTo>
                  <a:pt x="122632" y="404232"/>
                </a:moveTo>
                <a:cubicBezTo>
                  <a:pt x="152428" y="404232"/>
                  <a:pt x="152428" y="404232"/>
                  <a:pt x="152428" y="404232"/>
                </a:cubicBezTo>
                <a:cubicBezTo>
                  <a:pt x="167922" y="404232"/>
                  <a:pt x="178649" y="411418"/>
                  <a:pt x="178649" y="429382"/>
                </a:cubicBezTo>
                <a:cubicBezTo>
                  <a:pt x="178649" y="446149"/>
                  <a:pt x="167922" y="454532"/>
                  <a:pt x="152428" y="454532"/>
                </a:cubicBezTo>
                <a:cubicBezTo>
                  <a:pt x="132167" y="454532"/>
                  <a:pt x="132167" y="454532"/>
                  <a:pt x="132167" y="454532"/>
                </a:cubicBezTo>
                <a:cubicBezTo>
                  <a:pt x="132167" y="484473"/>
                  <a:pt x="132167" y="484473"/>
                  <a:pt x="132167" y="484473"/>
                </a:cubicBezTo>
                <a:cubicBezTo>
                  <a:pt x="122632" y="484473"/>
                  <a:pt x="122632" y="484473"/>
                  <a:pt x="122632" y="484473"/>
                </a:cubicBezTo>
                <a:close/>
                <a:moveTo>
                  <a:pt x="29775" y="404232"/>
                </a:moveTo>
                <a:lnTo>
                  <a:pt x="41887" y="404232"/>
                </a:lnTo>
                <a:lnTo>
                  <a:pt x="71662" y="484473"/>
                </a:lnTo>
                <a:lnTo>
                  <a:pt x="61064" y="484473"/>
                </a:lnTo>
                <a:lnTo>
                  <a:pt x="53999" y="463782"/>
                </a:lnTo>
                <a:lnTo>
                  <a:pt x="18168" y="463782"/>
                </a:lnTo>
                <a:lnTo>
                  <a:pt x="9589" y="484473"/>
                </a:lnTo>
                <a:lnTo>
                  <a:pt x="0" y="484473"/>
                </a:lnTo>
                <a:close/>
                <a:moveTo>
                  <a:pt x="793576" y="402718"/>
                </a:moveTo>
                <a:cubicBezTo>
                  <a:pt x="812676" y="402718"/>
                  <a:pt x="824613" y="413513"/>
                  <a:pt x="824613" y="431505"/>
                </a:cubicBezTo>
                <a:lnTo>
                  <a:pt x="824613" y="456695"/>
                </a:lnTo>
                <a:cubicBezTo>
                  <a:pt x="824613" y="474687"/>
                  <a:pt x="812676" y="485482"/>
                  <a:pt x="793576" y="485482"/>
                </a:cubicBezTo>
                <a:cubicBezTo>
                  <a:pt x="774477" y="485482"/>
                  <a:pt x="762540" y="474687"/>
                  <a:pt x="762540" y="456695"/>
                </a:cubicBezTo>
                <a:cubicBezTo>
                  <a:pt x="762540" y="431505"/>
                  <a:pt x="762540" y="431505"/>
                  <a:pt x="762540" y="431505"/>
                </a:cubicBezTo>
                <a:cubicBezTo>
                  <a:pt x="762540" y="413513"/>
                  <a:pt x="774477" y="402718"/>
                  <a:pt x="793576" y="402718"/>
                </a:cubicBezTo>
                <a:close/>
                <a:moveTo>
                  <a:pt x="718476" y="402718"/>
                </a:moveTo>
                <a:cubicBezTo>
                  <a:pt x="736436" y="402718"/>
                  <a:pt x="748409" y="412314"/>
                  <a:pt x="748409" y="429107"/>
                </a:cubicBezTo>
                <a:cubicBezTo>
                  <a:pt x="748409" y="430306"/>
                  <a:pt x="748409" y="430306"/>
                  <a:pt x="748409" y="430306"/>
                </a:cubicBezTo>
                <a:cubicBezTo>
                  <a:pt x="738830" y="430306"/>
                  <a:pt x="738830" y="430306"/>
                  <a:pt x="738830" y="430306"/>
                </a:cubicBezTo>
                <a:cubicBezTo>
                  <a:pt x="738830" y="429107"/>
                  <a:pt x="738830" y="429107"/>
                  <a:pt x="738830" y="429107"/>
                </a:cubicBezTo>
                <a:cubicBezTo>
                  <a:pt x="738830" y="418311"/>
                  <a:pt x="730449" y="411114"/>
                  <a:pt x="718476" y="411114"/>
                </a:cubicBezTo>
                <a:cubicBezTo>
                  <a:pt x="704108" y="411114"/>
                  <a:pt x="696924" y="418311"/>
                  <a:pt x="696924" y="431505"/>
                </a:cubicBezTo>
                <a:cubicBezTo>
                  <a:pt x="696924" y="456695"/>
                  <a:pt x="696924" y="456695"/>
                  <a:pt x="696924" y="456695"/>
                </a:cubicBezTo>
                <a:cubicBezTo>
                  <a:pt x="696924" y="469889"/>
                  <a:pt x="704108" y="477086"/>
                  <a:pt x="718476" y="477086"/>
                </a:cubicBezTo>
                <a:cubicBezTo>
                  <a:pt x="730449" y="477086"/>
                  <a:pt x="738830" y="471088"/>
                  <a:pt x="738830" y="459093"/>
                </a:cubicBezTo>
                <a:lnTo>
                  <a:pt x="748409" y="459093"/>
                </a:lnTo>
                <a:cubicBezTo>
                  <a:pt x="748409" y="475886"/>
                  <a:pt x="736436" y="485482"/>
                  <a:pt x="718476" y="485482"/>
                </a:cubicBezTo>
                <a:cubicBezTo>
                  <a:pt x="699318" y="485482"/>
                  <a:pt x="687345" y="474687"/>
                  <a:pt x="687345" y="456695"/>
                </a:cubicBezTo>
                <a:cubicBezTo>
                  <a:pt x="687345" y="431505"/>
                  <a:pt x="687345" y="431505"/>
                  <a:pt x="687345" y="431505"/>
                </a:cubicBezTo>
                <a:cubicBezTo>
                  <a:pt x="687345" y="413513"/>
                  <a:pt x="699318" y="402718"/>
                  <a:pt x="718476" y="402718"/>
                </a:cubicBezTo>
                <a:close/>
                <a:moveTo>
                  <a:pt x="450572" y="402718"/>
                </a:moveTo>
                <a:cubicBezTo>
                  <a:pt x="469571" y="402718"/>
                  <a:pt x="481445" y="412314"/>
                  <a:pt x="481445" y="429107"/>
                </a:cubicBezTo>
                <a:cubicBezTo>
                  <a:pt x="481445" y="430306"/>
                  <a:pt x="481445" y="430306"/>
                  <a:pt x="481445" y="430306"/>
                </a:cubicBezTo>
                <a:cubicBezTo>
                  <a:pt x="471946" y="430306"/>
                  <a:pt x="471946" y="430306"/>
                  <a:pt x="471946" y="430306"/>
                </a:cubicBezTo>
                <a:cubicBezTo>
                  <a:pt x="471946" y="429107"/>
                  <a:pt x="471946" y="429107"/>
                  <a:pt x="471946" y="429107"/>
                </a:cubicBezTo>
                <a:cubicBezTo>
                  <a:pt x="471946" y="418311"/>
                  <a:pt x="463634" y="411114"/>
                  <a:pt x="450572" y="411114"/>
                </a:cubicBezTo>
                <a:cubicBezTo>
                  <a:pt x="437510" y="411114"/>
                  <a:pt x="430385" y="418311"/>
                  <a:pt x="430385" y="431505"/>
                </a:cubicBezTo>
                <a:cubicBezTo>
                  <a:pt x="430385" y="456695"/>
                  <a:pt x="430385" y="456695"/>
                  <a:pt x="430385" y="456695"/>
                </a:cubicBezTo>
                <a:cubicBezTo>
                  <a:pt x="430385" y="469889"/>
                  <a:pt x="437510" y="477086"/>
                  <a:pt x="450572" y="477086"/>
                </a:cubicBezTo>
                <a:cubicBezTo>
                  <a:pt x="463634" y="477086"/>
                  <a:pt x="471946" y="471088"/>
                  <a:pt x="471946" y="459093"/>
                </a:cubicBezTo>
                <a:lnTo>
                  <a:pt x="481445" y="459093"/>
                </a:lnTo>
                <a:cubicBezTo>
                  <a:pt x="481445" y="475886"/>
                  <a:pt x="469571" y="485482"/>
                  <a:pt x="450572" y="485482"/>
                </a:cubicBezTo>
                <a:cubicBezTo>
                  <a:pt x="431573" y="485482"/>
                  <a:pt x="420886" y="474687"/>
                  <a:pt x="420886" y="456695"/>
                </a:cubicBezTo>
                <a:cubicBezTo>
                  <a:pt x="420886" y="431505"/>
                  <a:pt x="420886" y="431505"/>
                  <a:pt x="420886" y="431505"/>
                </a:cubicBezTo>
                <a:cubicBezTo>
                  <a:pt x="420886" y="413513"/>
                  <a:pt x="431573" y="402718"/>
                  <a:pt x="450572" y="402718"/>
                </a:cubicBezTo>
                <a:close/>
                <a:moveTo>
                  <a:pt x="374364" y="402718"/>
                </a:moveTo>
                <a:cubicBezTo>
                  <a:pt x="393479" y="402718"/>
                  <a:pt x="403036" y="411114"/>
                  <a:pt x="403036" y="426708"/>
                </a:cubicBezTo>
                <a:cubicBezTo>
                  <a:pt x="403036" y="427907"/>
                  <a:pt x="403036" y="427907"/>
                  <a:pt x="403036" y="427907"/>
                </a:cubicBezTo>
                <a:cubicBezTo>
                  <a:pt x="393479" y="427907"/>
                  <a:pt x="393479" y="427907"/>
                  <a:pt x="393479" y="427907"/>
                </a:cubicBezTo>
                <a:cubicBezTo>
                  <a:pt x="393479" y="426708"/>
                  <a:pt x="393479" y="426708"/>
                  <a:pt x="393479" y="426708"/>
                </a:cubicBezTo>
                <a:cubicBezTo>
                  <a:pt x="393479" y="415912"/>
                  <a:pt x="387505" y="411114"/>
                  <a:pt x="374364" y="411114"/>
                </a:cubicBezTo>
                <a:cubicBezTo>
                  <a:pt x="362417" y="411114"/>
                  <a:pt x="356443" y="415912"/>
                  <a:pt x="356443" y="424309"/>
                </a:cubicBezTo>
                <a:cubicBezTo>
                  <a:pt x="356443" y="432705"/>
                  <a:pt x="361222" y="436303"/>
                  <a:pt x="368390" y="437503"/>
                </a:cubicBezTo>
                <a:cubicBezTo>
                  <a:pt x="383921" y="441101"/>
                  <a:pt x="383921" y="441101"/>
                  <a:pt x="383921" y="441101"/>
                </a:cubicBezTo>
                <a:cubicBezTo>
                  <a:pt x="397063" y="443500"/>
                  <a:pt x="404231" y="450697"/>
                  <a:pt x="404231" y="462692"/>
                </a:cubicBezTo>
                <a:cubicBezTo>
                  <a:pt x="404231" y="478285"/>
                  <a:pt x="393479" y="485482"/>
                  <a:pt x="374364" y="485482"/>
                </a:cubicBezTo>
                <a:cubicBezTo>
                  <a:pt x="356443" y="485482"/>
                  <a:pt x="345691" y="477086"/>
                  <a:pt x="345691" y="461492"/>
                </a:cubicBezTo>
                <a:cubicBezTo>
                  <a:pt x="345691" y="460293"/>
                  <a:pt x="345691" y="460293"/>
                  <a:pt x="345691" y="460293"/>
                </a:cubicBezTo>
                <a:cubicBezTo>
                  <a:pt x="355249" y="460293"/>
                  <a:pt x="355249" y="460293"/>
                  <a:pt x="355249" y="460293"/>
                </a:cubicBezTo>
                <a:cubicBezTo>
                  <a:pt x="355249" y="461492"/>
                  <a:pt x="355249" y="461492"/>
                  <a:pt x="355249" y="461492"/>
                </a:cubicBezTo>
                <a:cubicBezTo>
                  <a:pt x="355249" y="472288"/>
                  <a:pt x="362417" y="477086"/>
                  <a:pt x="374364" y="477086"/>
                </a:cubicBezTo>
                <a:cubicBezTo>
                  <a:pt x="387505" y="477086"/>
                  <a:pt x="393479" y="472288"/>
                  <a:pt x="393479" y="462692"/>
                </a:cubicBezTo>
                <a:cubicBezTo>
                  <a:pt x="393479" y="455495"/>
                  <a:pt x="388700" y="450697"/>
                  <a:pt x="381532" y="449498"/>
                </a:cubicBezTo>
                <a:cubicBezTo>
                  <a:pt x="366001" y="447099"/>
                  <a:pt x="366001" y="447099"/>
                  <a:pt x="366001" y="447099"/>
                </a:cubicBezTo>
                <a:cubicBezTo>
                  <a:pt x="354054" y="444700"/>
                  <a:pt x="346886" y="437503"/>
                  <a:pt x="346886" y="425508"/>
                </a:cubicBezTo>
                <a:cubicBezTo>
                  <a:pt x="346886" y="411114"/>
                  <a:pt x="356443" y="402718"/>
                  <a:pt x="374364" y="402718"/>
                </a:cubicBezTo>
                <a:close/>
                <a:moveTo>
                  <a:pt x="221798" y="402718"/>
                </a:moveTo>
                <a:cubicBezTo>
                  <a:pt x="240897" y="402718"/>
                  <a:pt x="252834" y="413513"/>
                  <a:pt x="252834" y="431505"/>
                </a:cubicBezTo>
                <a:lnTo>
                  <a:pt x="252834" y="456695"/>
                </a:lnTo>
                <a:cubicBezTo>
                  <a:pt x="252834" y="474687"/>
                  <a:pt x="240897" y="485482"/>
                  <a:pt x="221798" y="485482"/>
                </a:cubicBezTo>
                <a:cubicBezTo>
                  <a:pt x="202698" y="485482"/>
                  <a:pt x="190761" y="474687"/>
                  <a:pt x="190761" y="456695"/>
                </a:cubicBezTo>
                <a:cubicBezTo>
                  <a:pt x="190761" y="431505"/>
                  <a:pt x="190761" y="431505"/>
                  <a:pt x="190761" y="431505"/>
                </a:cubicBezTo>
                <a:cubicBezTo>
                  <a:pt x="190761" y="413513"/>
                  <a:pt x="202698" y="402718"/>
                  <a:pt x="221798" y="402718"/>
                </a:cubicBezTo>
                <a:close/>
                <a:moveTo>
                  <a:pt x="1049691" y="43905"/>
                </a:moveTo>
                <a:cubicBezTo>
                  <a:pt x="1049691" y="43905"/>
                  <a:pt x="1049691" y="43905"/>
                  <a:pt x="1049691" y="130202"/>
                </a:cubicBezTo>
                <a:cubicBezTo>
                  <a:pt x="1049691" y="130202"/>
                  <a:pt x="1049691" y="130202"/>
                  <a:pt x="1114157" y="130202"/>
                </a:cubicBezTo>
                <a:cubicBezTo>
                  <a:pt x="1147584" y="130202"/>
                  <a:pt x="1160716" y="115819"/>
                  <a:pt x="1160716" y="87054"/>
                </a:cubicBezTo>
                <a:cubicBezTo>
                  <a:pt x="1160716" y="55891"/>
                  <a:pt x="1147584" y="43905"/>
                  <a:pt x="1114157" y="43905"/>
                </a:cubicBezTo>
                <a:cubicBezTo>
                  <a:pt x="1114157" y="43905"/>
                  <a:pt x="1114157" y="43905"/>
                  <a:pt x="1049691" y="43905"/>
                </a:cubicBezTo>
                <a:close/>
                <a:moveTo>
                  <a:pt x="999729" y="0"/>
                </a:moveTo>
                <a:cubicBezTo>
                  <a:pt x="999729" y="0"/>
                  <a:pt x="999729" y="0"/>
                  <a:pt x="1115234" y="0"/>
                </a:cubicBezTo>
                <a:cubicBezTo>
                  <a:pt x="1173581" y="0"/>
                  <a:pt x="1211686" y="23905"/>
                  <a:pt x="1211686" y="87253"/>
                </a:cubicBezTo>
                <a:cubicBezTo>
                  <a:pt x="1211686" y="145820"/>
                  <a:pt x="1174772" y="173311"/>
                  <a:pt x="1115234" y="173311"/>
                </a:cubicBezTo>
                <a:cubicBezTo>
                  <a:pt x="1115234" y="173311"/>
                  <a:pt x="1115234" y="173311"/>
                  <a:pt x="1049741" y="173311"/>
                </a:cubicBezTo>
                <a:cubicBezTo>
                  <a:pt x="1049741" y="173311"/>
                  <a:pt x="1049741" y="173311"/>
                  <a:pt x="1049741" y="295226"/>
                </a:cubicBezTo>
                <a:cubicBezTo>
                  <a:pt x="1049741" y="295226"/>
                  <a:pt x="1049741" y="295226"/>
                  <a:pt x="999729" y="295226"/>
                </a:cubicBezTo>
                <a:cubicBezTo>
                  <a:pt x="999729" y="295226"/>
                  <a:pt x="999729" y="295226"/>
                  <a:pt x="999729" y="0"/>
                </a:cubicBezTo>
                <a:close/>
                <a:moveTo>
                  <a:pt x="717625" y="0"/>
                </a:moveTo>
                <a:lnTo>
                  <a:pt x="767586" y="0"/>
                </a:lnTo>
                <a:lnTo>
                  <a:pt x="767586" y="129193"/>
                </a:lnTo>
                <a:lnTo>
                  <a:pt x="893751" y="129193"/>
                </a:lnTo>
                <a:lnTo>
                  <a:pt x="893751" y="0"/>
                </a:lnTo>
                <a:lnTo>
                  <a:pt x="943712" y="0"/>
                </a:lnTo>
                <a:lnTo>
                  <a:pt x="943712" y="295226"/>
                </a:lnTo>
                <a:lnTo>
                  <a:pt x="893751" y="295226"/>
                </a:lnTo>
                <a:lnTo>
                  <a:pt x="893751" y="173098"/>
                </a:lnTo>
                <a:lnTo>
                  <a:pt x="767586" y="173098"/>
                </a:lnTo>
                <a:lnTo>
                  <a:pt x="767586" y="295226"/>
                </a:lnTo>
                <a:lnTo>
                  <a:pt x="717625" y="295226"/>
                </a:lnTo>
                <a:close/>
                <a:moveTo>
                  <a:pt x="401708" y="0"/>
                </a:moveTo>
                <a:lnTo>
                  <a:pt x="448137" y="0"/>
                </a:lnTo>
                <a:lnTo>
                  <a:pt x="531405" y="135249"/>
                </a:lnTo>
                <a:lnTo>
                  <a:pt x="616188" y="0"/>
                </a:lnTo>
                <a:lnTo>
                  <a:pt x="661607" y="0"/>
                </a:lnTo>
                <a:lnTo>
                  <a:pt x="661607" y="295226"/>
                </a:lnTo>
                <a:lnTo>
                  <a:pt x="612655" y="295226"/>
                </a:lnTo>
                <a:lnTo>
                  <a:pt x="612655" y="93362"/>
                </a:lnTo>
                <a:lnTo>
                  <a:pt x="531405" y="221041"/>
                </a:lnTo>
                <a:lnTo>
                  <a:pt x="451669" y="93362"/>
                </a:lnTo>
                <a:lnTo>
                  <a:pt x="451669" y="295226"/>
                </a:lnTo>
                <a:lnTo>
                  <a:pt x="401708" y="295226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301" name="SmartArt-Platzhalter 300">
            <a:extLst>
              <a:ext uri="{FF2B5EF4-FFF2-40B4-BE49-F238E27FC236}">
                <a16:creationId xmlns:a16="http://schemas.microsoft.com/office/drawing/2014/main" id="{75DC54DC-758D-42F2-99F9-BAD25F1F1C23}"/>
              </a:ext>
            </a:extLst>
          </p:cNvPr>
          <p:cNvSpPr>
            <a:spLocks noGrp="1"/>
          </p:cNvSpPr>
          <p:nvPr>
            <p:ph type="dgm" sz="quarter" idx="16"/>
          </p:nvPr>
        </p:nvSpPr>
        <p:spPr bwMode="gray">
          <a:xfrm>
            <a:off x="10567565" y="488304"/>
            <a:ext cx="291692" cy="295226"/>
          </a:xfrm>
          <a:custGeom>
            <a:avLst/>
            <a:gdLst>
              <a:gd name="connsiteX0" fmla="*/ 117585 w 291692"/>
              <a:gd name="connsiteY0" fmla="*/ 163510 h 295226"/>
              <a:gd name="connsiteX1" fmla="*/ 166537 w 291692"/>
              <a:gd name="connsiteY1" fmla="*/ 163510 h 295226"/>
              <a:gd name="connsiteX2" fmla="*/ 145341 w 291692"/>
              <a:gd name="connsiteY2" fmla="*/ 295226 h 295226"/>
              <a:gd name="connsiteX3" fmla="*/ 96389 w 291692"/>
              <a:gd name="connsiteY3" fmla="*/ 295226 h 295226"/>
              <a:gd name="connsiteX4" fmla="*/ 242740 w 291692"/>
              <a:gd name="connsiteY4" fmla="*/ 0 h 295226"/>
              <a:gd name="connsiteX5" fmla="*/ 291692 w 291692"/>
              <a:gd name="connsiteY5" fmla="*/ 0 h 295226"/>
              <a:gd name="connsiteX6" fmla="*/ 291692 w 291692"/>
              <a:gd name="connsiteY6" fmla="*/ 295226 h 295226"/>
              <a:gd name="connsiteX7" fmla="*/ 242740 w 291692"/>
              <a:gd name="connsiteY7" fmla="*/ 295226 h 295226"/>
              <a:gd name="connsiteX8" fmla="*/ 145341 w 291692"/>
              <a:gd name="connsiteY8" fmla="*/ 0 h 295226"/>
              <a:gd name="connsiteX9" fmla="*/ 193788 w 291692"/>
              <a:gd name="connsiteY9" fmla="*/ 0 h 295226"/>
              <a:gd name="connsiteX10" fmla="*/ 175116 w 291692"/>
              <a:gd name="connsiteY10" fmla="*/ 114558 h 295226"/>
              <a:gd name="connsiteX11" fmla="*/ 126164 w 291692"/>
              <a:gd name="connsiteY11" fmla="*/ 114558 h 295226"/>
              <a:gd name="connsiteX12" fmla="*/ 0 w 291692"/>
              <a:gd name="connsiteY12" fmla="*/ 0 h 295226"/>
              <a:gd name="connsiteX13" fmla="*/ 48447 w 291692"/>
              <a:gd name="connsiteY13" fmla="*/ 0 h 295226"/>
              <a:gd name="connsiteX14" fmla="*/ 48447 w 291692"/>
              <a:gd name="connsiteY14" fmla="*/ 295226 h 295226"/>
              <a:gd name="connsiteX15" fmla="*/ 0 w 291692"/>
              <a:gd name="connsiteY15" fmla="*/ 295226 h 2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91692" h="295226">
                <a:moveTo>
                  <a:pt x="117585" y="163510"/>
                </a:moveTo>
                <a:lnTo>
                  <a:pt x="166537" y="163510"/>
                </a:lnTo>
                <a:lnTo>
                  <a:pt x="145341" y="295226"/>
                </a:lnTo>
                <a:lnTo>
                  <a:pt x="96389" y="295226"/>
                </a:lnTo>
                <a:close/>
                <a:moveTo>
                  <a:pt x="242740" y="0"/>
                </a:moveTo>
                <a:lnTo>
                  <a:pt x="291692" y="0"/>
                </a:lnTo>
                <a:lnTo>
                  <a:pt x="291692" y="295226"/>
                </a:lnTo>
                <a:lnTo>
                  <a:pt x="242740" y="295226"/>
                </a:lnTo>
                <a:close/>
                <a:moveTo>
                  <a:pt x="145341" y="0"/>
                </a:moveTo>
                <a:lnTo>
                  <a:pt x="193788" y="0"/>
                </a:lnTo>
                <a:lnTo>
                  <a:pt x="175116" y="114558"/>
                </a:lnTo>
                <a:lnTo>
                  <a:pt x="126164" y="114558"/>
                </a:lnTo>
                <a:close/>
                <a:moveTo>
                  <a:pt x="0" y="0"/>
                </a:moveTo>
                <a:lnTo>
                  <a:pt x="48447" y="0"/>
                </a:lnTo>
                <a:lnTo>
                  <a:pt x="48447" y="295226"/>
                </a:lnTo>
                <a:lnTo>
                  <a:pt x="0" y="29522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3" name="Titel 7">
            <a:extLst>
              <a:ext uri="{FF2B5EF4-FFF2-40B4-BE49-F238E27FC236}">
                <a16:creationId xmlns:a16="http://schemas.microsoft.com/office/drawing/2014/main" id="{6B92239C-165D-4EA6-AC37-8F5584BFED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484313"/>
            <a:ext cx="5832475" cy="7921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lientitel </a:t>
            </a:r>
            <a:br>
              <a:rPr lang="de-DE" dirty="0"/>
            </a:br>
            <a:r>
              <a:rPr lang="de-DE" dirty="0"/>
              <a:t>einfügen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3D5F47CD-24A8-46B8-8D68-E5970CEC732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 bwMode="gray">
          <a:xfrm>
            <a:off x="-2" y="0"/>
            <a:ext cx="10191732" cy="6858000"/>
          </a:xfrm>
          <a:custGeom>
            <a:avLst/>
            <a:gdLst>
              <a:gd name="connsiteX0" fmla="*/ 0 w 10191732"/>
              <a:gd name="connsiteY0" fmla="*/ 0 h 6858000"/>
              <a:gd name="connsiteX1" fmla="*/ 2289195 w 10191732"/>
              <a:gd name="connsiteY1" fmla="*/ 0 h 6858000"/>
              <a:gd name="connsiteX2" fmla="*/ 2292676 w 10191732"/>
              <a:gd name="connsiteY2" fmla="*/ 0 h 6858000"/>
              <a:gd name="connsiteX3" fmla="*/ 2478507 w 10191732"/>
              <a:gd name="connsiteY3" fmla="*/ 0 h 6858000"/>
              <a:gd name="connsiteX4" fmla="*/ 2823999 w 10191732"/>
              <a:gd name="connsiteY4" fmla="*/ 0 h 6858000"/>
              <a:gd name="connsiteX5" fmla="*/ 3107889 w 10191732"/>
              <a:gd name="connsiteY5" fmla="*/ 0 h 6858000"/>
              <a:gd name="connsiteX6" fmla="*/ 3948439 w 10191732"/>
              <a:gd name="connsiteY6" fmla="*/ 0 h 6858000"/>
              <a:gd name="connsiteX7" fmla="*/ 4103234 w 10191732"/>
              <a:gd name="connsiteY7" fmla="*/ 0 h 6858000"/>
              <a:gd name="connsiteX8" fmla="*/ 4106715 w 10191732"/>
              <a:gd name="connsiteY8" fmla="*/ 0 h 6858000"/>
              <a:gd name="connsiteX9" fmla="*/ 4240193 w 10191732"/>
              <a:gd name="connsiteY9" fmla="*/ 0 h 6858000"/>
              <a:gd name="connsiteX10" fmla="*/ 4243674 w 10191732"/>
              <a:gd name="connsiteY10" fmla="*/ 0 h 6858000"/>
              <a:gd name="connsiteX11" fmla="*/ 4638038 w 10191732"/>
              <a:gd name="connsiteY11" fmla="*/ 0 h 6858000"/>
              <a:gd name="connsiteX12" fmla="*/ 4648798 w 10191732"/>
              <a:gd name="connsiteY12" fmla="*/ 0 h 6858000"/>
              <a:gd name="connsiteX13" fmla="*/ 4763652 w 10191732"/>
              <a:gd name="connsiteY13" fmla="*/ 0 h 6858000"/>
              <a:gd name="connsiteX14" fmla="*/ 4774997 w 10191732"/>
              <a:gd name="connsiteY14" fmla="*/ 0 h 6858000"/>
              <a:gd name="connsiteX15" fmla="*/ 4921928 w 10191732"/>
              <a:gd name="connsiteY15" fmla="*/ 0 h 6858000"/>
              <a:gd name="connsiteX16" fmla="*/ 5058887 w 10191732"/>
              <a:gd name="connsiteY16" fmla="*/ 0 h 6858000"/>
              <a:gd name="connsiteX17" fmla="*/ 5464010 w 10191732"/>
              <a:gd name="connsiteY17" fmla="*/ 0 h 6858000"/>
              <a:gd name="connsiteX18" fmla="*/ 5762478 w 10191732"/>
              <a:gd name="connsiteY18" fmla="*/ 0 h 6858000"/>
              <a:gd name="connsiteX19" fmla="*/ 5899437 w 10191732"/>
              <a:gd name="connsiteY19" fmla="*/ 0 h 6858000"/>
              <a:gd name="connsiteX20" fmla="*/ 6054232 w 10191732"/>
              <a:gd name="connsiteY20" fmla="*/ 0 h 6858000"/>
              <a:gd name="connsiteX21" fmla="*/ 6057713 w 10191732"/>
              <a:gd name="connsiteY21" fmla="*/ 0 h 6858000"/>
              <a:gd name="connsiteX22" fmla="*/ 6304560 w 10191732"/>
              <a:gd name="connsiteY22" fmla="*/ 0 h 6858000"/>
              <a:gd name="connsiteX23" fmla="*/ 6462837 w 10191732"/>
              <a:gd name="connsiteY23" fmla="*/ 0 h 6858000"/>
              <a:gd name="connsiteX24" fmla="*/ 6577691 w 10191732"/>
              <a:gd name="connsiteY24" fmla="*/ 0 h 6858000"/>
              <a:gd name="connsiteX25" fmla="*/ 6588450 w 10191732"/>
              <a:gd name="connsiteY25" fmla="*/ 0 h 6858000"/>
              <a:gd name="connsiteX26" fmla="*/ 6589036 w 10191732"/>
              <a:gd name="connsiteY26" fmla="*/ 0 h 6858000"/>
              <a:gd name="connsiteX27" fmla="*/ 6599796 w 10191732"/>
              <a:gd name="connsiteY27" fmla="*/ 0 h 6858000"/>
              <a:gd name="connsiteX28" fmla="*/ 6714650 w 10191732"/>
              <a:gd name="connsiteY28" fmla="*/ 0 h 6858000"/>
              <a:gd name="connsiteX29" fmla="*/ 6872926 w 10191732"/>
              <a:gd name="connsiteY29" fmla="*/ 0 h 6858000"/>
              <a:gd name="connsiteX30" fmla="*/ 7119773 w 10191732"/>
              <a:gd name="connsiteY30" fmla="*/ 0 h 6858000"/>
              <a:gd name="connsiteX31" fmla="*/ 7278049 w 10191732"/>
              <a:gd name="connsiteY31" fmla="*/ 0 h 6858000"/>
              <a:gd name="connsiteX32" fmla="*/ 7403663 w 10191732"/>
              <a:gd name="connsiteY32" fmla="*/ 0 h 6858000"/>
              <a:gd name="connsiteX33" fmla="*/ 7415008 w 10191732"/>
              <a:gd name="connsiteY33" fmla="*/ 0 h 6858000"/>
              <a:gd name="connsiteX34" fmla="*/ 7713476 w 10191732"/>
              <a:gd name="connsiteY34" fmla="*/ 0 h 6858000"/>
              <a:gd name="connsiteX35" fmla="*/ 8118599 w 10191732"/>
              <a:gd name="connsiteY35" fmla="*/ 0 h 6858000"/>
              <a:gd name="connsiteX36" fmla="*/ 8240734 w 10191732"/>
              <a:gd name="connsiteY36" fmla="*/ 0 h 6858000"/>
              <a:gd name="connsiteX37" fmla="*/ 8255558 w 10191732"/>
              <a:gd name="connsiteY37" fmla="*/ 0 h 6858000"/>
              <a:gd name="connsiteX38" fmla="*/ 8413835 w 10191732"/>
              <a:gd name="connsiteY38" fmla="*/ 0 h 6858000"/>
              <a:gd name="connsiteX39" fmla="*/ 8528689 w 10191732"/>
              <a:gd name="connsiteY39" fmla="*/ 0 h 6858000"/>
              <a:gd name="connsiteX40" fmla="*/ 8539448 w 10191732"/>
              <a:gd name="connsiteY40" fmla="*/ 0 h 6858000"/>
              <a:gd name="connsiteX41" fmla="*/ 9070771 w 10191732"/>
              <a:gd name="connsiteY41" fmla="*/ 0 h 6858000"/>
              <a:gd name="connsiteX42" fmla="*/ 9229047 w 10191732"/>
              <a:gd name="connsiteY42" fmla="*/ 0 h 6858000"/>
              <a:gd name="connsiteX43" fmla="*/ 9354661 w 10191732"/>
              <a:gd name="connsiteY43" fmla="*/ 0 h 6858000"/>
              <a:gd name="connsiteX44" fmla="*/ 10069597 w 10191732"/>
              <a:gd name="connsiteY44" fmla="*/ 0 h 6858000"/>
              <a:gd name="connsiteX45" fmla="*/ 10191732 w 10191732"/>
              <a:gd name="connsiteY45" fmla="*/ 0 h 6858000"/>
              <a:gd name="connsiteX46" fmla="*/ 8991881 w 10191732"/>
              <a:gd name="connsiteY46" fmla="*/ 6858000 h 6858000"/>
              <a:gd name="connsiteX47" fmla="*/ 8869748 w 10191732"/>
              <a:gd name="connsiteY47" fmla="*/ 6858000 h 6858000"/>
              <a:gd name="connsiteX48" fmla="*/ 8528689 w 10191732"/>
              <a:gd name="connsiteY48" fmla="*/ 6858000 h 6858000"/>
              <a:gd name="connsiteX49" fmla="*/ 8154811 w 10191732"/>
              <a:gd name="connsiteY49" fmla="*/ 6858000 h 6858000"/>
              <a:gd name="connsiteX50" fmla="*/ 8029197 w 10191732"/>
              <a:gd name="connsiteY50" fmla="*/ 6858000 h 6858000"/>
              <a:gd name="connsiteX51" fmla="*/ 7870922 w 10191732"/>
              <a:gd name="connsiteY51" fmla="*/ 6858000 h 6858000"/>
              <a:gd name="connsiteX52" fmla="*/ 7713476 w 10191732"/>
              <a:gd name="connsiteY52" fmla="*/ 6858000 h 6858000"/>
              <a:gd name="connsiteX53" fmla="*/ 7339599 w 10191732"/>
              <a:gd name="connsiteY53" fmla="*/ 6858000 h 6858000"/>
              <a:gd name="connsiteX54" fmla="*/ 7213984 w 10191732"/>
              <a:gd name="connsiteY54" fmla="*/ 6858000 h 6858000"/>
              <a:gd name="connsiteX55" fmla="*/ 7055708 w 10191732"/>
              <a:gd name="connsiteY55" fmla="*/ 6858000 h 6858000"/>
              <a:gd name="connsiteX56" fmla="*/ 7040883 w 10191732"/>
              <a:gd name="connsiteY56" fmla="*/ 6858000 h 6858000"/>
              <a:gd name="connsiteX57" fmla="*/ 6918750 w 10191732"/>
              <a:gd name="connsiteY57" fmla="*/ 6858000 h 6858000"/>
              <a:gd name="connsiteX58" fmla="*/ 6872926 w 10191732"/>
              <a:gd name="connsiteY58" fmla="*/ 6858000 h 6858000"/>
              <a:gd name="connsiteX59" fmla="*/ 6714650 w 10191732"/>
              <a:gd name="connsiteY59" fmla="*/ 6858000 h 6858000"/>
              <a:gd name="connsiteX60" fmla="*/ 6589036 w 10191732"/>
              <a:gd name="connsiteY60" fmla="*/ 6858000 h 6858000"/>
              <a:gd name="connsiteX61" fmla="*/ 6577691 w 10191732"/>
              <a:gd name="connsiteY61" fmla="*/ 6858000 h 6858000"/>
              <a:gd name="connsiteX62" fmla="*/ 6215158 w 10191732"/>
              <a:gd name="connsiteY62" fmla="*/ 6858000 h 6858000"/>
              <a:gd name="connsiteX63" fmla="*/ 6203813 w 10191732"/>
              <a:gd name="connsiteY63" fmla="*/ 6858000 h 6858000"/>
              <a:gd name="connsiteX64" fmla="*/ 6078199 w 10191732"/>
              <a:gd name="connsiteY64" fmla="*/ 6858000 h 6858000"/>
              <a:gd name="connsiteX65" fmla="*/ 6057713 w 10191732"/>
              <a:gd name="connsiteY65" fmla="*/ 6858000 h 6858000"/>
              <a:gd name="connsiteX66" fmla="*/ 6054232 w 10191732"/>
              <a:gd name="connsiteY66" fmla="*/ 6858000 h 6858000"/>
              <a:gd name="connsiteX67" fmla="*/ 5919924 w 10191732"/>
              <a:gd name="connsiteY67" fmla="*/ 6858000 h 6858000"/>
              <a:gd name="connsiteX68" fmla="*/ 5899437 w 10191732"/>
              <a:gd name="connsiteY68" fmla="*/ 6858000 h 6858000"/>
              <a:gd name="connsiteX69" fmla="*/ 5762478 w 10191732"/>
              <a:gd name="connsiteY69" fmla="*/ 6858000 h 6858000"/>
              <a:gd name="connsiteX70" fmla="*/ 5399945 w 10191732"/>
              <a:gd name="connsiteY70" fmla="*/ 6858000 h 6858000"/>
              <a:gd name="connsiteX71" fmla="*/ 5388601 w 10191732"/>
              <a:gd name="connsiteY71" fmla="*/ 6858000 h 6858000"/>
              <a:gd name="connsiteX72" fmla="*/ 5262986 w 10191732"/>
              <a:gd name="connsiteY72" fmla="*/ 6858000 h 6858000"/>
              <a:gd name="connsiteX73" fmla="*/ 5104710 w 10191732"/>
              <a:gd name="connsiteY73" fmla="*/ 6858000 h 6858000"/>
              <a:gd name="connsiteX74" fmla="*/ 5058887 w 10191732"/>
              <a:gd name="connsiteY74" fmla="*/ 6858000 h 6858000"/>
              <a:gd name="connsiteX75" fmla="*/ 4921928 w 10191732"/>
              <a:gd name="connsiteY75" fmla="*/ 6858000 h 6858000"/>
              <a:gd name="connsiteX76" fmla="*/ 4774997 w 10191732"/>
              <a:gd name="connsiteY76" fmla="*/ 6858000 h 6858000"/>
              <a:gd name="connsiteX77" fmla="*/ 4763652 w 10191732"/>
              <a:gd name="connsiteY77" fmla="*/ 6858000 h 6858000"/>
              <a:gd name="connsiteX78" fmla="*/ 4638038 w 10191732"/>
              <a:gd name="connsiteY78" fmla="*/ 6858000 h 6858000"/>
              <a:gd name="connsiteX79" fmla="*/ 4264160 w 10191732"/>
              <a:gd name="connsiteY79" fmla="*/ 6858000 h 6858000"/>
              <a:gd name="connsiteX80" fmla="*/ 4243674 w 10191732"/>
              <a:gd name="connsiteY80" fmla="*/ 6858000 h 6858000"/>
              <a:gd name="connsiteX81" fmla="*/ 4240193 w 10191732"/>
              <a:gd name="connsiteY81" fmla="*/ 6858000 h 6858000"/>
              <a:gd name="connsiteX82" fmla="*/ 4106715 w 10191732"/>
              <a:gd name="connsiteY82" fmla="*/ 6858000 h 6858000"/>
              <a:gd name="connsiteX83" fmla="*/ 4103234 w 10191732"/>
              <a:gd name="connsiteY83" fmla="*/ 6858000 h 6858000"/>
              <a:gd name="connsiteX84" fmla="*/ 3948439 w 10191732"/>
              <a:gd name="connsiteY84" fmla="*/ 6858000 h 6858000"/>
              <a:gd name="connsiteX85" fmla="*/ 3448947 w 10191732"/>
              <a:gd name="connsiteY85" fmla="*/ 6858000 h 6858000"/>
              <a:gd name="connsiteX86" fmla="*/ 3107889 w 10191732"/>
              <a:gd name="connsiteY86" fmla="*/ 6858000 h 6858000"/>
              <a:gd name="connsiteX87" fmla="*/ 2823999 w 10191732"/>
              <a:gd name="connsiteY87" fmla="*/ 6858000 h 6858000"/>
              <a:gd name="connsiteX88" fmla="*/ 2478507 w 10191732"/>
              <a:gd name="connsiteY88" fmla="*/ 6858000 h 6858000"/>
              <a:gd name="connsiteX89" fmla="*/ 2292676 w 10191732"/>
              <a:gd name="connsiteY89" fmla="*/ 6858000 h 6858000"/>
              <a:gd name="connsiteX90" fmla="*/ 2289195 w 10191732"/>
              <a:gd name="connsiteY90" fmla="*/ 6858000 h 6858000"/>
              <a:gd name="connsiteX91" fmla="*/ 0 w 10191732"/>
              <a:gd name="connsiteY9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10191732" h="6858000">
                <a:moveTo>
                  <a:pt x="0" y="0"/>
                </a:moveTo>
                <a:lnTo>
                  <a:pt x="2289195" y="0"/>
                </a:lnTo>
                <a:lnTo>
                  <a:pt x="2292676" y="0"/>
                </a:lnTo>
                <a:lnTo>
                  <a:pt x="2478507" y="0"/>
                </a:lnTo>
                <a:lnTo>
                  <a:pt x="2823999" y="0"/>
                </a:lnTo>
                <a:lnTo>
                  <a:pt x="3107889" y="0"/>
                </a:lnTo>
                <a:lnTo>
                  <a:pt x="3948439" y="0"/>
                </a:lnTo>
                <a:lnTo>
                  <a:pt x="4103234" y="0"/>
                </a:lnTo>
                <a:lnTo>
                  <a:pt x="4106715" y="0"/>
                </a:lnTo>
                <a:lnTo>
                  <a:pt x="4240193" y="0"/>
                </a:lnTo>
                <a:lnTo>
                  <a:pt x="4243674" y="0"/>
                </a:lnTo>
                <a:lnTo>
                  <a:pt x="4638038" y="0"/>
                </a:lnTo>
                <a:lnTo>
                  <a:pt x="4648798" y="0"/>
                </a:lnTo>
                <a:lnTo>
                  <a:pt x="4763652" y="0"/>
                </a:lnTo>
                <a:lnTo>
                  <a:pt x="4774997" y="0"/>
                </a:lnTo>
                <a:lnTo>
                  <a:pt x="4921928" y="0"/>
                </a:lnTo>
                <a:lnTo>
                  <a:pt x="5058887" y="0"/>
                </a:lnTo>
                <a:lnTo>
                  <a:pt x="5464010" y="0"/>
                </a:lnTo>
                <a:lnTo>
                  <a:pt x="5762478" y="0"/>
                </a:lnTo>
                <a:lnTo>
                  <a:pt x="5899437" y="0"/>
                </a:lnTo>
                <a:lnTo>
                  <a:pt x="6054232" y="0"/>
                </a:lnTo>
                <a:lnTo>
                  <a:pt x="6057713" y="0"/>
                </a:lnTo>
                <a:lnTo>
                  <a:pt x="6304560" y="0"/>
                </a:lnTo>
                <a:lnTo>
                  <a:pt x="6462837" y="0"/>
                </a:lnTo>
                <a:lnTo>
                  <a:pt x="6577691" y="0"/>
                </a:lnTo>
                <a:lnTo>
                  <a:pt x="6588450" y="0"/>
                </a:lnTo>
                <a:lnTo>
                  <a:pt x="6589036" y="0"/>
                </a:lnTo>
                <a:lnTo>
                  <a:pt x="6599796" y="0"/>
                </a:lnTo>
                <a:lnTo>
                  <a:pt x="6714650" y="0"/>
                </a:lnTo>
                <a:lnTo>
                  <a:pt x="6872926" y="0"/>
                </a:lnTo>
                <a:lnTo>
                  <a:pt x="7119773" y="0"/>
                </a:lnTo>
                <a:lnTo>
                  <a:pt x="7278049" y="0"/>
                </a:lnTo>
                <a:lnTo>
                  <a:pt x="7403663" y="0"/>
                </a:lnTo>
                <a:lnTo>
                  <a:pt x="7415008" y="0"/>
                </a:lnTo>
                <a:lnTo>
                  <a:pt x="7713476" y="0"/>
                </a:lnTo>
                <a:lnTo>
                  <a:pt x="8118599" y="0"/>
                </a:lnTo>
                <a:lnTo>
                  <a:pt x="8240734" y="0"/>
                </a:lnTo>
                <a:lnTo>
                  <a:pt x="8255558" y="0"/>
                </a:lnTo>
                <a:lnTo>
                  <a:pt x="8413835" y="0"/>
                </a:lnTo>
                <a:lnTo>
                  <a:pt x="8528689" y="0"/>
                </a:lnTo>
                <a:lnTo>
                  <a:pt x="8539448" y="0"/>
                </a:lnTo>
                <a:lnTo>
                  <a:pt x="9070771" y="0"/>
                </a:lnTo>
                <a:lnTo>
                  <a:pt x="9229047" y="0"/>
                </a:lnTo>
                <a:lnTo>
                  <a:pt x="9354661" y="0"/>
                </a:lnTo>
                <a:lnTo>
                  <a:pt x="10069597" y="0"/>
                </a:lnTo>
                <a:lnTo>
                  <a:pt x="10191732" y="0"/>
                </a:lnTo>
                <a:lnTo>
                  <a:pt x="8991881" y="6858000"/>
                </a:lnTo>
                <a:lnTo>
                  <a:pt x="8869748" y="6858000"/>
                </a:lnTo>
                <a:lnTo>
                  <a:pt x="8528689" y="6858000"/>
                </a:lnTo>
                <a:lnTo>
                  <a:pt x="8154811" y="6858000"/>
                </a:lnTo>
                <a:lnTo>
                  <a:pt x="8029197" y="6858000"/>
                </a:lnTo>
                <a:lnTo>
                  <a:pt x="7870922" y="6858000"/>
                </a:lnTo>
                <a:lnTo>
                  <a:pt x="7713476" y="6858000"/>
                </a:lnTo>
                <a:lnTo>
                  <a:pt x="7339599" y="6858000"/>
                </a:lnTo>
                <a:lnTo>
                  <a:pt x="7213984" y="6858000"/>
                </a:lnTo>
                <a:lnTo>
                  <a:pt x="7055708" y="6858000"/>
                </a:lnTo>
                <a:lnTo>
                  <a:pt x="7040883" y="6858000"/>
                </a:lnTo>
                <a:lnTo>
                  <a:pt x="6918750" y="6858000"/>
                </a:lnTo>
                <a:lnTo>
                  <a:pt x="6872926" y="6858000"/>
                </a:lnTo>
                <a:lnTo>
                  <a:pt x="6714650" y="6858000"/>
                </a:lnTo>
                <a:lnTo>
                  <a:pt x="6589036" y="6858000"/>
                </a:lnTo>
                <a:lnTo>
                  <a:pt x="6577691" y="6858000"/>
                </a:lnTo>
                <a:lnTo>
                  <a:pt x="6215158" y="6858000"/>
                </a:lnTo>
                <a:lnTo>
                  <a:pt x="6203813" y="6858000"/>
                </a:lnTo>
                <a:lnTo>
                  <a:pt x="6078199" y="6858000"/>
                </a:lnTo>
                <a:lnTo>
                  <a:pt x="6057713" y="6858000"/>
                </a:lnTo>
                <a:lnTo>
                  <a:pt x="6054232" y="6858000"/>
                </a:lnTo>
                <a:lnTo>
                  <a:pt x="5919924" y="6858000"/>
                </a:lnTo>
                <a:lnTo>
                  <a:pt x="5899437" y="6858000"/>
                </a:lnTo>
                <a:lnTo>
                  <a:pt x="5762478" y="6858000"/>
                </a:lnTo>
                <a:lnTo>
                  <a:pt x="5399945" y="6858000"/>
                </a:lnTo>
                <a:lnTo>
                  <a:pt x="5388601" y="6858000"/>
                </a:lnTo>
                <a:lnTo>
                  <a:pt x="5262986" y="6858000"/>
                </a:lnTo>
                <a:lnTo>
                  <a:pt x="5104710" y="6858000"/>
                </a:lnTo>
                <a:lnTo>
                  <a:pt x="5058887" y="6858000"/>
                </a:lnTo>
                <a:lnTo>
                  <a:pt x="4921928" y="6858000"/>
                </a:lnTo>
                <a:lnTo>
                  <a:pt x="4774997" y="6858000"/>
                </a:lnTo>
                <a:lnTo>
                  <a:pt x="4763652" y="6858000"/>
                </a:lnTo>
                <a:lnTo>
                  <a:pt x="4638038" y="6858000"/>
                </a:lnTo>
                <a:lnTo>
                  <a:pt x="4264160" y="6858000"/>
                </a:lnTo>
                <a:lnTo>
                  <a:pt x="4243674" y="6858000"/>
                </a:lnTo>
                <a:lnTo>
                  <a:pt x="4240193" y="6858000"/>
                </a:lnTo>
                <a:lnTo>
                  <a:pt x="4106715" y="6858000"/>
                </a:lnTo>
                <a:lnTo>
                  <a:pt x="4103234" y="6858000"/>
                </a:lnTo>
                <a:lnTo>
                  <a:pt x="3948439" y="6858000"/>
                </a:lnTo>
                <a:lnTo>
                  <a:pt x="3448947" y="6858000"/>
                </a:lnTo>
                <a:lnTo>
                  <a:pt x="3107889" y="6858000"/>
                </a:lnTo>
                <a:lnTo>
                  <a:pt x="2823999" y="6858000"/>
                </a:lnTo>
                <a:lnTo>
                  <a:pt x="2478507" y="6858000"/>
                </a:lnTo>
                <a:lnTo>
                  <a:pt x="2292676" y="6858000"/>
                </a:lnTo>
                <a:lnTo>
                  <a:pt x="228919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15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+ Overlay recht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8FE2F768-31B7-4114-8D4D-032E4ED46F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F7B0918-FB1D-416E-B791-3294F6C82DE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 bwMode="gray">
          <a:xfrm>
            <a:off x="6245959" y="0"/>
            <a:ext cx="5946043" cy="6858000"/>
          </a:xfrm>
          <a:custGeom>
            <a:avLst/>
            <a:gdLst>
              <a:gd name="connsiteX0" fmla="*/ 1199851 w 5946043"/>
              <a:gd name="connsiteY0" fmla="*/ 0 h 6858000"/>
              <a:gd name="connsiteX1" fmla="*/ 1287952 w 5946043"/>
              <a:gd name="connsiteY1" fmla="*/ 0 h 6858000"/>
              <a:gd name="connsiteX2" fmla="*/ 1435012 w 5946043"/>
              <a:gd name="connsiteY2" fmla="*/ 0 h 6858000"/>
              <a:gd name="connsiteX3" fmla="*/ 1484852 w 5946043"/>
              <a:gd name="connsiteY3" fmla="*/ 0 h 6858000"/>
              <a:gd name="connsiteX4" fmla="*/ 1497368 w 5946043"/>
              <a:gd name="connsiteY4" fmla="*/ 0 h 6858000"/>
              <a:gd name="connsiteX5" fmla="*/ 1626717 w 5946043"/>
              <a:gd name="connsiteY5" fmla="*/ 0 h 6858000"/>
              <a:gd name="connsiteX6" fmla="*/ 1773777 w 5946043"/>
              <a:gd name="connsiteY6" fmla="*/ 0 h 6858000"/>
              <a:gd name="connsiteX7" fmla="*/ 1797093 w 5946043"/>
              <a:gd name="connsiteY7" fmla="*/ 0 h 6858000"/>
              <a:gd name="connsiteX8" fmla="*/ 1836133 w 5946043"/>
              <a:gd name="connsiteY8" fmla="*/ 0 h 6858000"/>
              <a:gd name="connsiteX9" fmla="*/ 2039501 w 5946043"/>
              <a:gd name="connsiteY9" fmla="*/ 0 h 6858000"/>
              <a:gd name="connsiteX10" fmla="*/ 2135858 w 5946043"/>
              <a:gd name="connsiteY10" fmla="*/ 0 h 6858000"/>
              <a:gd name="connsiteX11" fmla="*/ 2339226 w 5946043"/>
              <a:gd name="connsiteY11" fmla="*/ 0 h 6858000"/>
              <a:gd name="connsiteX12" fmla="*/ 2378266 w 5946043"/>
              <a:gd name="connsiteY12" fmla="*/ 0 h 6858000"/>
              <a:gd name="connsiteX13" fmla="*/ 2401582 w 5946043"/>
              <a:gd name="connsiteY13" fmla="*/ 0 h 6858000"/>
              <a:gd name="connsiteX14" fmla="*/ 2548642 w 5946043"/>
              <a:gd name="connsiteY14" fmla="*/ 0 h 6858000"/>
              <a:gd name="connsiteX15" fmla="*/ 2677991 w 5946043"/>
              <a:gd name="connsiteY15" fmla="*/ 0 h 6858000"/>
              <a:gd name="connsiteX16" fmla="*/ 2740347 w 5946043"/>
              <a:gd name="connsiteY16" fmla="*/ 0 h 6858000"/>
              <a:gd name="connsiteX17" fmla="*/ 2887407 w 5946043"/>
              <a:gd name="connsiteY17" fmla="*/ 0 h 6858000"/>
              <a:gd name="connsiteX18" fmla="*/ 3090775 w 5946043"/>
              <a:gd name="connsiteY18" fmla="*/ 0 h 6858000"/>
              <a:gd name="connsiteX19" fmla="*/ 3153131 w 5946043"/>
              <a:gd name="connsiteY19" fmla="*/ 0 h 6858000"/>
              <a:gd name="connsiteX20" fmla="*/ 3429540 w 5946043"/>
              <a:gd name="connsiteY20" fmla="*/ 0 h 6858000"/>
              <a:gd name="connsiteX21" fmla="*/ 3452856 w 5946043"/>
              <a:gd name="connsiteY21" fmla="*/ 0 h 6858000"/>
              <a:gd name="connsiteX22" fmla="*/ 3491896 w 5946043"/>
              <a:gd name="connsiteY22" fmla="*/ 0 h 6858000"/>
              <a:gd name="connsiteX23" fmla="*/ 3791621 w 5946043"/>
              <a:gd name="connsiteY23" fmla="*/ 0 h 6858000"/>
              <a:gd name="connsiteX24" fmla="*/ 3927963 w 5946043"/>
              <a:gd name="connsiteY24" fmla="*/ 0 h 6858000"/>
              <a:gd name="connsiteX25" fmla="*/ 4092598 w 5946043"/>
              <a:gd name="connsiteY25" fmla="*/ 0 h 6858000"/>
              <a:gd name="connsiteX26" fmla="*/ 4204405 w 5946043"/>
              <a:gd name="connsiteY26" fmla="*/ 0 h 6858000"/>
              <a:gd name="connsiteX27" fmla="*/ 4266728 w 5946043"/>
              <a:gd name="connsiteY27" fmla="*/ 0 h 6858000"/>
              <a:gd name="connsiteX28" fmla="*/ 4431363 w 5946043"/>
              <a:gd name="connsiteY28" fmla="*/ 0 h 6858000"/>
              <a:gd name="connsiteX29" fmla="*/ 4543170 w 5946043"/>
              <a:gd name="connsiteY29" fmla="*/ 0 h 6858000"/>
              <a:gd name="connsiteX30" fmla="*/ 4679512 w 5946043"/>
              <a:gd name="connsiteY30" fmla="*/ 0 h 6858000"/>
              <a:gd name="connsiteX31" fmla="*/ 4844147 w 5946043"/>
              <a:gd name="connsiteY31" fmla="*/ 0 h 6858000"/>
              <a:gd name="connsiteX32" fmla="*/ 4894769 w 5946043"/>
              <a:gd name="connsiteY32" fmla="*/ 0 h 6858000"/>
              <a:gd name="connsiteX33" fmla="*/ 4979237 w 5946043"/>
              <a:gd name="connsiteY33" fmla="*/ 0 h 6858000"/>
              <a:gd name="connsiteX34" fmla="*/ 5143872 w 5946043"/>
              <a:gd name="connsiteY34" fmla="*/ 0 h 6858000"/>
              <a:gd name="connsiteX35" fmla="*/ 5318002 w 5946043"/>
              <a:gd name="connsiteY35" fmla="*/ 0 h 6858000"/>
              <a:gd name="connsiteX36" fmla="*/ 5482637 w 5946043"/>
              <a:gd name="connsiteY36" fmla="*/ 0 h 6858000"/>
              <a:gd name="connsiteX37" fmla="*/ 5730786 w 5946043"/>
              <a:gd name="connsiteY37" fmla="*/ 0 h 6858000"/>
              <a:gd name="connsiteX38" fmla="*/ 5895421 w 5946043"/>
              <a:gd name="connsiteY38" fmla="*/ 0 h 6858000"/>
              <a:gd name="connsiteX39" fmla="*/ 5946043 w 5946043"/>
              <a:gd name="connsiteY39" fmla="*/ 0 h 6858000"/>
              <a:gd name="connsiteX40" fmla="*/ 5946043 w 5946043"/>
              <a:gd name="connsiteY40" fmla="*/ 6858000 h 6858000"/>
              <a:gd name="connsiteX41" fmla="*/ 5895421 w 5946043"/>
              <a:gd name="connsiteY41" fmla="*/ 6858000 h 6858000"/>
              <a:gd name="connsiteX42" fmla="*/ 5730786 w 5946043"/>
              <a:gd name="connsiteY42" fmla="*/ 6858000 h 6858000"/>
              <a:gd name="connsiteX43" fmla="*/ 5482637 w 5946043"/>
              <a:gd name="connsiteY43" fmla="*/ 6858000 h 6858000"/>
              <a:gd name="connsiteX44" fmla="*/ 5318002 w 5946043"/>
              <a:gd name="connsiteY44" fmla="*/ 6858000 h 6858000"/>
              <a:gd name="connsiteX45" fmla="*/ 5143872 w 5946043"/>
              <a:gd name="connsiteY45" fmla="*/ 6858000 h 6858000"/>
              <a:gd name="connsiteX46" fmla="*/ 4979237 w 5946043"/>
              <a:gd name="connsiteY46" fmla="*/ 6858000 h 6858000"/>
              <a:gd name="connsiteX47" fmla="*/ 4894769 w 5946043"/>
              <a:gd name="connsiteY47" fmla="*/ 6858000 h 6858000"/>
              <a:gd name="connsiteX48" fmla="*/ 4844147 w 5946043"/>
              <a:gd name="connsiteY48" fmla="*/ 6858000 h 6858000"/>
              <a:gd name="connsiteX49" fmla="*/ 4679512 w 5946043"/>
              <a:gd name="connsiteY49" fmla="*/ 6858000 h 6858000"/>
              <a:gd name="connsiteX50" fmla="*/ 4629390 w 5946043"/>
              <a:gd name="connsiteY50" fmla="*/ 6858000 h 6858000"/>
              <a:gd name="connsiteX51" fmla="*/ 4431363 w 5946043"/>
              <a:gd name="connsiteY51" fmla="*/ 6858000 h 6858000"/>
              <a:gd name="connsiteX52" fmla="*/ 4290625 w 5946043"/>
              <a:gd name="connsiteY52" fmla="*/ 6858000 h 6858000"/>
              <a:gd name="connsiteX53" fmla="*/ 4266728 w 5946043"/>
              <a:gd name="connsiteY53" fmla="*/ 6858000 h 6858000"/>
              <a:gd name="connsiteX54" fmla="*/ 4092598 w 5946043"/>
              <a:gd name="connsiteY54" fmla="*/ 6858000 h 6858000"/>
              <a:gd name="connsiteX55" fmla="*/ 3927963 w 5946043"/>
              <a:gd name="connsiteY55" fmla="*/ 6858000 h 6858000"/>
              <a:gd name="connsiteX56" fmla="*/ 3877841 w 5946043"/>
              <a:gd name="connsiteY56" fmla="*/ 6858000 h 6858000"/>
              <a:gd name="connsiteX57" fmla="*/ 3578116 w 5946043"/>
              <a:gd name="connsiteY57" fmla="*/ 6858000 h 6858000"/>
              <a:gd name="connsiteX58" fmla="*/ 3539076 w 5946043"/>
              <a:gd name="connsiteY58" fmla="*/ 6858000 h 6858000"/>
              <a:gd name="connsiteX59" fmla="*/ 3343320 w 5946043"/>
              <a:gd name="connsiteY59" fmla="*/ 6858000 h 6858000"/>
              <a:gd name="connsiteX60" fmla="*/ 3239351 w 5946043"/>
              <a:gd name="connsiteY60" fmla="*/ 6858000 h 6858000"/>
              <a:gd name="connsiteX61" fmla="*/ 3004555 w 5946043"/>
              <a:gd name="connsiteY61" fmla="*/ 6858000 h 6858000"/>
              <a:gd name="connsiteX62" fmla="*/ 2973627 w 5946043"/>
              <a:gd name="connsiteY62" fmla="*/ 6858000 h 6858000"/>
              <a:gd name="connsiteX63" fmla="*/ 2826567 w 5946043"/>
              <a:gd name="connsiteY63" fmla="*/ 6858000 h 6858000"/>
              <a:gd name="connsiteX64" fmla="*/ 2634862 w 5946043"/>
              <a:gd name="connsiteY64" fmla="*/ 6858000 h 6858000"/>
              <a:gd name="connsiteX65" fmla="*/ 2591771 w 5946043"/>
              <a:gd name="connsiteY65" fmla="*/ 6858000 h 6858000"/>
              <a:gd name="connsiteX66" fmla="*/ 2487802 w 5946043"/>
              <a:gd name="connsiteY66" fmla="*/ 6858000 h 6858000"/>
              <a:gd name="connsiteX67" fmla="*/ 2292046 w 5946043"/>
              <a:gd name="connsiteY67" fmla="*/ 6858000 h 6858000"/>
              <a:gd name="connsiteX68" fmla="*/ 2253006 w 5946043"/>
              <a:gd name="connsiteY68" fmla="*/ 6858000 h 6858000"/>
              <a:gd name="connsiteX69" fmla="*/ 2222078 w 5946043"/>
              <a:gd name="connsiteY69" fmla="*/ 6858000 h 6858000"/>
              <a:gd name="connsiteX70" fmla="*/ 1953281 w 5946043"/>
              <a:gd name="connsiteY70" fmla="*/ 6858000 h 6858000"/>
              <a:gd name="connsiteX71" fmla="*/ 1922353 w 5946043"/>
              <a:gd name="connsiteY71" fmla="*/ 6858000 h 6858000"/>
              <a:gd name="connsiteX72" fmla="*/ 1883313 w 5946043"/>
              <a:gd name="connsiteY72" fmla="*/ 6858000 h 6858000"/>
              <a:gd name="connsiteX73" fmla="*/ 1687557 w 5946043"/>
              <a:gd name="connsiteY73" fmla="*/ 6858000 h 6858000"/>
              <a:gd name="connsiteX74" fmla="*/ 1583588 w 5946043"/>
              <a:gd name="connsiteY74" fmla="*/ 6858000 h 6858000"/>
              <a:gd name="connsiteX75" fmla="*/ 1540497 w 5946043"/>
              <a:gd name="connsiteY75" fmla="*/ 6858000 h 6858000"/>
              <a:gd name="connsiteX76" fmla="*/ 1348792 w 5946043"/>
              <a:gd name="connsiteY76" fmla="*/ 6858000 h 6858000"/>
              <a:gd name="connsiteX77" fmla="*/ 1201732 w 5946043"/>
              <a:gd name="connsiteY77" fmla="*/ 6858000 h 6858000"/>
              <a:gd name="connsiteX78" fmla="*/ 1170804 w 5946043"/>
              <a:gd name="connsiteY78" fmla="*/ 6858000 h 6858000"/>
              <a:gd name="connsiteX79" fmla="*/ 936008 w 5946043"/>
              <a:gd name="connsiteY79" fmla="*/ 6858000 h 6858000"/>
              <a:gd name="connsiteX80" fmla="*/ 832039 w 5946043"/>
              <a:gd name="connsiteY80" fmla="*/ 6858000 h 6858000"/>
              <a:gd name="connsiteX81" fmla="*/ 636283 w 5946043"/>
              <a:gd name="connsiteY81" fmla="*/ 6858000 h 6858000"/>
              <a:gd name="connsiteX82" fmla="*/ 597243 w 5946043"/>
              <a:gd name="connsiteY82" fmla="*/ 6858000 h 6858000"/>
              <a:gd name="connsiteX83" fmla="*/ 297518 w 5946043"/>
              <a:gd name="connsiteY83" fmla="*/ 6858000 h 6858000"/>
              <a:gd name="connsiteX84" fmla="*/ 285002 w 5946043"/>
              <a:gd name="connsiteY84" fmla="*/ 6858000 h 6858000"/>
              <a:gd name="connsiteX85" fmla="*/ 0 w 5946043"/>
              <a:gd name="connsiteY8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5946043" h="6858000">
                <a:moveTo>
                  <a:pt x="1199851" y="0"/>
                </a:moveTo>
                <a:lnTo>
                  <a:pt x="1287952" y="0"/>
                </a:lnTo>
                <a:lnTo>
                  <a:pt x="1435012" y="0"/>
                </a:lnTo>
                <a:lnTo>
                  <a:pt x="1484852" y="0"/>
                </a:lnTo>
                <a:lnTo>
                  <a:pt x="1497368" y="0"/>
                </a:lnTo>
                <a:lnTo>
                  <a:pt x="1626717" y="0"/>
                </a:lnTo>
                <a:lnTo>
                  <a:pt x="1773777" y="0"/>
                </a:lnTo>
                <a:lnTo>
                  <a:pt x="1797093" y="0"/>
                </a:lnTo>
                <a:lnTo>
                  <a:pt x="1836133" y="0"/>
                </a:lnTo>
                <a:lnTo>
                  <a:pt x="2039501" y="0"/>
                </a:lnTo>
                <a:lnTo>
                  <a:pt x="2135858" y="0"/>
                </a:lnTo>
                <a:lnTo>
                  <a:pt x="2339226" y="0"/>
                </a:lnTo>
                <a:lnTo>
                  <a:pt x="2378266" y="0"/>
                </a:lnTo>
                <a:lnTo>
                  <a:pt x="2401582" y="0"/>
                </a:lnTo>
                <a:lnTo>
                  <a:pt x="2548642" y="0"/>
                </a:lnTo>
                <a:lnTo>
                  <a:pt x="2677991" y="0"/>
                </a:lnTo>
                <a:lnTo>
                  <a:pt x="2740347" y="0"/>
                </a:lnTo>
                <a:lnTo>
                  <a:pt x="2887407" y="0"/>
                </a:lnTo>
                <a:lnTo>
                  <a:pt x="3090775" y="0"/>
                </a:lnTo>
                <a:lnTo>
                  <a:pt x="3153131" y="0"/>
                </a:lnTo>
                <a:lnTo>
                  <a:pt x="3429540" y="0"/>
                </a:lnTo>
                <a:lnTo>
                  <a:pt x="3452856" y="0"/>
                </a:lnTo>
                <a:lnTo>
                  <a:pt x="3491896" y="0"/>
                </a:lnTo>
                <a:lnTo>
                  <a:pt x="3791621" y="0"/>
                </a:lnTo>
                <a:lnTo>
                  <a:pt x="3927963" y="0"/>
                </a:lnTo>
                <a:lnTo>
                  <a:pt x="4092598" y="0"/>
                </a:lnTo>
                <a:lnTo>
                  <a:pt x="4204405" y="0"/>
                </a:lnTo>
                <a:lnTo>
                  <a:pt x="4266728" y="0"/>
                </a:lnTo>
                <a:lnTo>
                  <a:pt x="4431363" y="0"/>
                </a:lnTo>
                <a:lnTo>
                  <a:pt x="4543170" y="0"/>
                </a:lnTo>
                <a:lnTo>
                  <a:pt x="4679512" y="0"/>
                </a:lnTo>
                <a:lnTo>
                  <a:pt x="4844147" y="0"/>
                </a:lnTo>
                <a:lnTo>
                  <a:pt x="4894769" y="0"/>
                </a:lnTo>
                <a:lnTo>
                  <a:pt x="4979237" y="0"/>
                </a:lnTo>
                <a:lnTo>
                  <a:pt x="5143872" y="0"/>
                </a:lnTo>
                <a:lnTo>
                  <a:pt x="5318002" y="0"/>
                </a:lnTo>
                <a:lnTo>
                  <a:pt x="5482637" y="0"/>
                </a:lnTo>
                <a:lnTo>
                  <a:pt x="5730786" y="0"/>
                </a:lnTo>
                <a:lnTo>
                  <a:pt x="5895421" y="0"/>
                </a:lnTo>
                <a:lnTo>
                  <a:pt x="5946043" y="0"/>
                </a:lnTo>
                <a:lnTo>
                  <a:pt x="5946043" y="6858000"/>
                </a:lnTo>
                <a:lnTo>
                  <a:pt x="5895421" y="6858000"/>
                </a:lnTo>
                <a:lnTo>
                  <a:pt x="5730786" y="6858000"/>
                </a:lnTo>
                <a:lnTo>
                  <a:pt x="5482637" y="6858000"/>
                </a:lnTo>
                <a:lnTo>
                  <a:pt x="5318002" y="6858000"/>
                </a:lnTo>
                <a:lnTo>
                  <a:pt x="5143872" y="6858000"/>
                </a:lnTo>
                <a:lnTo>
                  <a:pt x="4979237" y="6858000"/>
                </a:lnTo>
                <a:lnTo>
                  <a:pt x="4894769" y="6858000"/>
                </a:lnTo>
                <a:lnTo>
                  <a:pt x="4844147" y="6858000"/>
                </a:lnTo>
                <a:lnTo>
                  <a:pt x="4679512" y="6858000"/>
                </a:lnTo>
                <a:lnTo>
                  <a:pt x="4629390" y="6858000"/>
                </a:lnTo>
                <a:lnTo>
                  <a:pt x="4431363" y="6858000"/>
                </a:lnTo>
                <a:lnTo>
                  <a:pt x="4290625" y="6858000"/>
                </a:lnTo>
                <a:lnTo>
                  <a:pt x="4266728" y="6858000"/>
                </a:lnTo>
                <a:lnTo>
                  <a:pt x="4092598" y="6858000"/>
                </a:lnTo>
                <a:lnTo>
                  <a:pt x="3927963" y="6858000"/>
                </a:lnTo>
                <a:lnTo>
                  <a:pt x="3877841" y="6858000"/>
                </a:lnTo>
                <a:lnTo>
                  <a:pt x="3578116" y="6858000"/>
                </a:lnTo>
                <a:lnTo>
                  <a:pt x="3539076" y="6858000"/>
                </a:lnTo>
                <a:lnTo>
                  <a:pt x="3343320" y="6858000"/>
                </a:lnTo>
                <a:lnTo>
                  <a:pt x="3239351" y="6858000"/>
                </a:lnTo>
                <a:lnTo>
                  <a:pt x="3004555" y="6858000"/>
                </a:lnTo>
                <a:lnTo>
                  <a:pt x="2973627" y="6858000"/>
                </a:lnTo>
                <a:lnTo>
                  <a:pt x="2826567" y="6858000"/>
                </a:lnTo>
                <a:lnTo>
                  <a:pt x="2634862" y="6858000"/>
                </a:lnTo>
                <a:lnTo>
                  <a:pt x="2591771" y="6858000"/>
                </a:lnTo>
                <a:lnTo>
                  <a:pt x="2487802" y="6858000"/>
                </a:lnTo>
                <a:lnTo>
                  <a:pt x="2292046" y="6858000"/>
                </a:lnTo>
                <a:lnTo>
                  <a:pt x="2253006" y="6858000"/>
                </a:lnTo>
                <a:lnTo>
                  <a:pt x="2222078" y="6858000"/>
                </a:lnTo>
                <a:lnTo>
                  <a:pt x="1953281" y="6858000"/>
                </a:lnTo>
                <a:lnTo>
                  <a:pt x="1922353" y="6858000"/>
                </a:lnTo>
                <a:lnTo>
                  <a:pt x="1883313" y="6858000"/>
                </a:lnTo>
                <a:lnTo>
                  <a:pt x="1687557" y="6858000"/>
                </a:lnTo>
                <a:lnTo>
                  <a:pt x="1583588" y="6858000"/>
                </a:lnTo>
                <a:lnTo>
                  <a:pt x="1540497" y="6858000"/>
                </a:lnTo>
                <a:lnTo>
                  <a:pt x="1348792" y="6858000"/>
                </a:lnTo>
                <a:lnTo>
                  <a:pt x="1201732" y="6858000"/>
                </a:lnTo>
                <a:lnTo>
                  <a:pt x="1170804" y="6858000"/>
                </a:lnTo>
                <a:lnTo>
                  <a:pt x="936008" y="6858000"/>
                </a:lnTo>
                <a:lnTo>
                  <a:pt x="832039" y="6858000"/>
                </a:lnTo>
                <a:lnTo>
                  <a:pt x="636283" y="6858000"/>
                </a:lnTo>
                <a:lnTo>
                  <a:pt x="597243" y="6858000"/>
                </a:lnTo>
                <a:lnTo>
                  <a:pt x="297518" y="6858000"/>
                </a:lnTo>
                <a:lnTo>
                  <a:pt x="28500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/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21951E-D998-406D-8DA3-CD1E5D0FB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55C038-ADBC-4355-B701-93788356F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EEAC42-F94F-4D9A-8CB5-ED46D3DC3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7" name="SmartArt-Platzhalter 296">
            <a:extLst>
              <a:ext uri="{FF2B5EF4-FFF2-40B4-BE49-F238E27FC236}">
                <a16:creationId xmlns:a16="http://schemas.microsoft.com/office/drawing/2014/main" id="{5A909AA4-7409-4340-B373-87656CD8C6E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0566051" y="488304"/>
            <a:ext cx="1213200" cy="485482"/>
          </a:xfrm>
          <a:custGeom>
            <a:avLst/>
            <a:gdLst>
              <a:gd name="connsiteX0" fmla="*/ 1022440 w 1213200"/>
              <a:gd name="connsiteY0" fmla="*/ 413820 h 485482"/>
              <a:gd name="connsiteX1" fmla="*/ 1006795 w 1213200"/>
              <a:gd name="connsiteY1" fmla="*/ 455707 h 485482"/>
              <a:gd name="connsiteX2" fmla="*/ 1038084 w 1213200"/>
              <a:gd name="connsiteY2" fmla="*/ 455707 h 485482"/>
              <a:gd name="connsiteX3" fmla="*/ 35830 w 1213200"/>
              <a:gd name="connsiteY3" fmla="*/ 413820 h 485482"/>
              <a:gd name="connsiteX4" fmla="*/ 20186 w 1213200"/>
              <a:gd name="connsiteY4" fmla="*/ 455707 h 485482"/>
              <a:gd name="connsiteX5" fmla="*/ 51475 w 1213200"/>
              <a:gd name="connsiteY5" fmla="*/ 455707 h 485482"/>
              <a:gd name="connsiteX6" fmla="*/ 942703 w 1213200"/>
              <a:gd name="connsiteY6" fmla="*/ 412306 h 485482"/>
              <a:gd name="connsiteX7" fmla="*/ 942703 w 1213200"/>
              <a:gd name="connsiteY7" fmla="*/ 446118 h 485482"/>
              <a:gd name="connsiteX8" fmla="*/ 962906 w 1213200"/>
              <a:gd name="connsiteY8" fmla="*/ 446118 h 485482"/>
              <a:gd name="connsiteX9" fmla="*/ 979543 w 1213200"/>
              <a:gd name="connsiteY9" fmla="*/ 429212 h 485482"/>
              <a:gd name="connsiteX10" fmla="*/ 962906 w 1213200"/>
              <a:gd name="connsiteY10" fmla="*/ 412306 h 485482"/>
              <a:gd name="connsiteX11" fmla="*/ 942703 w 1213200"/>
              <a:gd name="connsiteY11" fmla="*/ 412306 h 485482"/>
              <a:gd name="connsiteX12" fmla="*/ 281095 w 1213200"/>
              <a:gd name="connsiteY12" fmla="*/ 412306 h 485482"/>
              <a:gd name="connsiteX13" fmla="*/ 281095 w 1213200"/>
              <a:gd name="connsiteY13" fmla="*/ 446118 h 485482"/>
              <a:gd name="connsiteX14" fmla="*/ 302669 w 1213200"/>
              <a:gd name="connsiteY14" fmla="*/ 446118 h 485482"/>
              <a:gd name="connsiteX15" fmla="*/ 319449 w 1213200"/>
              <a:gd name="connsiteY15" fmla="*/ 429212 h 485482"/>
              <a:gd name="connsiteX16" fmla="*/ 302669 w 1213200"/>
              <a:gd name="connsiteY16" fmla="*/ 412306 h 485482"/>
              <a:gd name="connsiteX17" fmla="*/ 281095 w 1213200"/>
              <a:gd name="connsiteY17" fmla="*/ 412306 h 485482"/>
              <a:gd name="connsiteX18" fmla="*/ 132221 w 1213200"/>
              <a:gd name="connsiteY18" fmla="*/ 412306 h 485482"/>
              <a:gd name="connsiteX19" fmla="*/ 132221 w 1213200"/>
              <a:gd name="connsiteY19" fmla="*/ 446118 h 485482"/>
              <a:gd name="connsiteX20" fmla="*/ 152525 w 1213200"/>
              <a:gd name="connsiteY20" fmla="*/ 446118 h 485482"/>
              <a:gd name="connsiteX21" fmla="*/ 168052 w 1213200"/>
              <a:gd name="connsiteY21" fmla="*/ 429212 h 485482"/>
              <a:gd name="connsiteX22" fmla="*/ 152525 w 1213200"/>
              <a:gd name="connsiteY22" fmla="*/ 412306 h 485482"/>
              <a:gd name="connsiteX23" fmla="*/ 132221 w 1213200"/>
              <a:gd name="connsiteY23" fmla="*/ 412306 h 485482"/>
              <a:gd name="connsiteX24" fmla="*/ 793576 w 1213200"/>
              <a:gd name="connsiteY24" fmla="*/ 411297 h 485482"/>
              <a:gd name="connsiteX25" fmla="*/ 772128 w 1213200"/>
              <a:gd name="connsiteY25" fmla="*/ 431575 h 485482"/>
              <a:gd name="connsiteX26" fmla="*/ 772128 w 1213200"/>
              <a:gd name="connsiteY26" fmla="*/ 456625 h 485482"/>
              <a:gd name="connsiteX27" fmla="*/ 793576 w 1213200"/>
              <a:gd name="connsiteY27" fmla="*/ 476903 h 485482"/>
              <a:gd name="connsiteX28" fmla="*/ 815024 w 1213200"/>
              <a:gd name="connsiteY28" fmla="*/ 456625 h 485482"/>
              <a:gd name="connsiteX29" fmla="*/ 815024 w 1213200"/>
              <a:gd name="connsiteY29" fmla="*/ 431575 h 485482"/>
              <a:gd name="connsiteX30" fmla="*/ 793576 w 1213200"/>
              <a:gd name="connsiteY30" fmla="*/ 411297 h 485482"/>
              <a:gd name="connsiteX31" fmla="*/ 221798 w 1213200"/>
              <a:gd name="connsiteY31" fmla="*/ 411297 h 485482"/>
              <a:gd name="connsiteX32" fmla="*/ 200350 w 1213200"/>
              <a:gd name="connsiteY32" fmla="*/ 431575 h 485482"/>
              <a:gd name="connsiteX33" fmla="*/ 200350 w 1213200"/>
              <a:gd name="connsiteY33" fmla="*/ 456625 h 485482"/>
              <a:gd name="connsiteX34" fmla="*/ 221798 w 1213200"/>
              <a:gd name="connsiteY34" fmla="*/ 476903 h 485482"/>
              <a:gd name="connsiteX35" fmla="*/ 243246 w 1213200"/>
              <a:gd name="connsiteY35" fmla="*/ 456625 h 485482"/>
              <a:gd name="connsiteX36" fmla="*/ 243246 w 1213200"/>
              <a:gd name="connsiteY36" fmla="*/ 431575 h 485482"/>
              <a:gd name="connsiteX37" fmla="*/ 221798 w 1213200"/>
              <a:gd name="connsiteY37" fmla="*/ 411297 h 485482"/>
              <a:gd name="connsiteX38" fmla="*/ 1144062 w 1213200"/>
              <a:gd name="connsiteY38" fmla="*/ 404232 h 485482"/>
              <a:gd name="connsiteX39" fmla="*/ 1154660 w 1213200"/>
              <a:gd name="connsiteY39" fmla="*/ 404232 h 485482"/>
              <a:gd name="connsiteX40" fmla="*/ 1178379 w 1213200"/>
              <a:gd name="connsiteY40" fmla="*/ 443596 h 485482"/>
              <a:gd name="connsiteX41" fmla="*/ 1201088 w 1213200"/>
              <a:gd name="connsiteY41" fmla="*/ 404232 h 485482"/>
              <a:gd name="connsiteX42" fmla="*/ 1213200 w 1213200"/>
              <a:gd name="connsiteY42" fmla="*/ 404232 h 485482"/>
              <a:gd name="connsiteX43" fmla="*/ 1183425 w 1213200"/>
              <a:gd name="connsiteY43" fmla="*/ 453184 h 485482"/>
              <a:gd name="connsiteX44" fmla="*/ 1183425 w 1213200"/>
              <a:gd name="connsiteY44" fmla="*/ 484473 h 485482"/>
              <a:gd name="connsiteX45" fmla="*/ 1173837 w 1213200"/>
              <a:gd name="connsiteY45" fmla="*/ 484473 h 485482"/>
              <a:gd name="connsiteX46" fmla="*/ 1173837 w 1213200"/>
              <a:gd name="connsiteY46" fmla="*/ 453184 h 485482"/>
              <a:gd name="connsiteX47" fmla="*/ 1071391 w 1213200"/>
              <a:gd name="connsiteY47" fmla="*/ 404232 h 485482"/>
              <a:gd name="connsiteX48" fmla="*/ 1079466 w 1213200"/>
              <a:gd name="connsiteY48" fmla="*/ 404232 h 485482"/>
              <a:gd name="connsiteX49" fmla="*/ 1121352 w 1213200"/>
              <a:gd name="connsiteY49" fmla="*/ 467315 h 485482"/>
              <a:gd name="connsiteX50" fmla="*/ 1121352 w 1213200"/>
              <a:gd name="connsiteY50" fmla="*/ 404232 h 485482"/>
              <a:gd name="connsiteX51" fmla="*/ 1130941 w 1213200"/>
              <a:gd name="connsiteY51" fmla="*/ 404232 h 485482"/>
              <a:gd name="connsiteX52" fmla="*/ 1130941 w 1213200"/>
              <a:gd name="connsiteY52" fmla="*/ 484473 h 485482"/>
              <a:gd name="connsiteX53" fmla="*/ 1122362 w 1213200"/>
              <a:gd name="connsiteY53" fmla="*/ 484473 h 485482"/>
              <a:gd name="connsiteX54" fmla="*/ 1080980 w 1213200"/>
              <a:gd name="connsiteY54" fmla="*/ 420886 h 485482"/>
              <a:gd name="connsiteX55" fmla="*/ 1080980 w 1213200"/>
              <a:gd name="connsiteY55" fmla="*/ 484473 h 485482"/>
              <a:gd name="connsiteX56" fmla="*/ 1071391 w 1213200"/>
              <a:gd name="connsiteY56" fmla="*/ 484473 h 485482"/>
              <a:gd name="connsiteX57" fmla="*/ 1017392 w 1213200"/>
              <a:gd name="connsiteY57" fmla="*/ 404232 h 485482"/>
              <a:gd name="connsiteX58" fmla="*/ 1029504 w 1213200"/>
              <a:gd name="connsiteY58" fmla="*/ 404232 h 485482"/>
              <a:gd name="connsiteX59" fmla="*/ 1058269 w 1213200"/>
              <a:gd name="connsiteY59" fmla="*/ 484473 h 485482"/>
              <a:gd name="connsiteX60" fmla="*/ 1048681 w 1213200"/>
              <a:gd name="connsiteY60" fmla="*/ 484473 h 485482"/>
              <a:gd name="connsiteX61" fmla="*/ 1040101 w 1213200"/>
              <a:gd name="connsiteY61" fmla="*/ 463782 h 485482"/>
              <a:gd name="connsiteX62" fmla="*/ 1004271 w 1213200"/>
              <a:gd name="connsiteY62" fmla="*/ 463782 h 485482"/>
              <a:gd name="connsiteX63" fmla="*/ 997205 w 1213200"/>
              <a:gd name="connsiteY63" fmla="*/ 484473 h 485482"/>
              <a:gd name="connsiteX64" fmla="*/ 987617 w 1213200"/>
              <a:gd name="connsiteY64" fmla="*/ 484473 h 485482"/>
              <a:gd name="connsiteX65" fmla="*/ 933114 w 1213200"/>
              <a:gd name="connsiteY65" fmla="*/ 404232 h 485482"/>
              <a:gd name="connsiteX66" fmla="*/ 962910 w 1213200"/>
              <a:gd name="connsiteY66" fmla="*/ 404232 h 485482"/>
              <a:gd name="connsiteX67" fmla="*/ 989131 w 1213200"/>
              <a:gd name="connsiteY67" fmla="*/ 429382 h 485482"/>
              <a:gd name="connsiteX68" fmla="*/ 962910 w 1213200"/>
              <a:gd name="connsiteY68" fmla="*/ 454532 h 485482"/>
              <a:gd name="connsiteX69" fmla="*/ 942649 w 1213200"/>
              <a:gd name="connsiteY69" fmla="*/ 454532 h 485482"/>
              <a:gd name="connsiteX70" fmla="*/ 942649 w 1213200"/>
              <a:gd name="connsiteY70" fmla="*/ 484473 h 485482"/>
              <a:gd name="connsiteX71" fmla="*/ 933114 w 1213200"/>
              <a:gd name="connsiteY71" fmla="*/ 484473 h 485482"/>
              <a:gd name="connsiteX72" fmla="*/ 843790 w 1213200"/>
              <a:gd name="connsiteY72" fmla="*/ 404232 h 485482"/>
              <a:gd name="connsiteX73" fmla="*/ 853378 w 1213200"/>
              <a:gd name="connsiteY73" fmla="*/ 404232 h 485482"/>
              <a:gd name="connsiteX74" fmla="*/ 878107 w 1213200"/>
              <a:gd name="connsiteY74" fmla="*/ 452175 h 485482"/>
              <a:gd name="connsiteX75" fmla="*/ 903340 w 1213200"/>
              <a:gd name="connsiteY75" fmla="*/ 404232 h 485482"/>
              <a:gd name="connsiteX76" fmla="*/ 912928 w 1213200"/>
              <a:gd name="connsiteY76" fmla="*/ 404232 h 485482"/>
              <a:gd name="connsiteX77" fmla="*/ 912928 w 1213200"/>
              <a:gd name="connsiteY77" fmla="*/ 484473 h 485482"/>
              <a:gd name="connsiteX78" fmla="*/ 903340 w 1213200"/>
              <a:gd name="connsiteY78" fmla="*/ 484473 h 485482"/>
              <a:gd name="connsiteX79" fmla="*/ 903340 w 1213200"/>
              <a:gd name="connsiteY79" fmla="*/ 423409 h 485482"/>
              <a:gd name="connsiteX80" fmla="*/ 878107 w 1213200"/>
              <a:gd name="connsiteY80" fmla="*/ 469838 h 485482"/>
              <a:gd name="connsiteX81" fmla="*/ 853378 w 1213200"/>
              <a:gd name="connsiteY81" fmla="*/ 423409 h 485482"/>
              <a:gd name="connsiteX82" fmla="*/ 853378 w 1213200"/>
              <a:gd name="connsiteY82" fmla="*/ 484473 h 485482"/>
              <a:gd name="connsiteX83" fmla="*/ 843790 w 1213200"/>
              <a:gd name="connsiteY83" fmla="*/ 484473 h 485482"/>
              <a:gd name="connsiteX84" fmla="*/ 579348 w 1213200"/>
              <a:gd name="connsiteY84" fmla="*/ 404232 h 485482"/>
              <a:gd name="connsiteX85" fmla="*/ 630319 w 1213200"/>
              <a:gd name="connsiteY85" fmla="*/ 404232 h 485482"/>
              <a:gd name="connsiteX86" fmla="*/ 630319 w 1213200"/>
              <a:gd name="connsiteY86" fmla="*/ 412307 h 485482"/>
              <a:gd name="connsiteX87" fmla="*/ 588937 w 1213200"/>
              <a:gd name="connsiteY87" fmla="*/ 412307 h 485482"/>
              <a:gd name="connsiteX88" fmla="*/ 588937 w 1213200"/>
              <a:gd name="connsiteY88" fmla="*/ 440063 h 485482"/>
              <a:gd name="connsiteX89" fmla="*/ 625777 w 1213200"/>
              <a:gd name="connsiteY89" fmla="*/ 440063 h 485482"/>
              <a:gd name="connsiteX90" fmla="*/ 625777 w 1213200"/>
              <a:gd name="connsiteY90" fmla="*/ 448642 h 485482"/>
              <a:gd name="connsiteX91" fmla="*/ 588937 w 1213200"/>
              <a:gd name="connsiteY91" fmla="*/ 448642 h 485482"/>
              <a:gd name="connsiteX92" fmla="*/ 588937 w 1213200"/>
              <a:gd name="connsiteY92" fmla="*/ 475894 h 485482"/>
              <a:gd name="connsiteX93" fmla="*/ 630319 w 1213200"/>
              <a:gd name="connsiteY93" fmla="*/ 475894 h 485482"/>
              <a:gd name="connsiteX94" fmla="*/ 630319 w 1213200"/>
              <a:gd name="connsiteY94" fmla="*/ 484473 h 485482"/>
              <a:gd name="connsiteX95" fmla="*/ 579348 w 1213200"/>
              <a:gd name="connsiteY95" fmla="*/ 484473 h 485482"/>
              <a:gd name="connsiteX96" fmla="*/ 499108 w 1213200"/>
              <a:gd name="connsiteY96" fmla="*/ 404232 h 485482"/>
              <a:gd name="connsiteX97" fmla="*/ 508696 w 1213200"/>
              <a:gd name="connsiteY97" fmla="*/ 404232 h 485482"/>
              <a:gd name="connsiteX98" fmla="*/ 508696 w 1213200"/>
              <a:gd name="connsiteY98" fmla="*/ 440063 h 485482"/>
              <a:gd name="connsiteX99" fmla="*/ 549574 w 1213200"/>
              <a:gd name="connsiteY99" fmla="*/ 440063 h 485482"/>
              <a:gd name="connsiteX100" fmla="*/ 549574 w 1213200"/>
              <a:gd name="connsiteY100" fmla="*/ 404232 h 485482"/>
              <a:gd name="connsiteX101" fmla="*/ 559162 w 1213200"/>
              <a:gd name="connsiteY101" fmla="*/ 404232 h 485482"/>
              <a:gd name="connsiteX102" fmla="*/ 559162 w 1213200"/>
              <a:gd name="connsiteY102" fmla="*/ 484473 h 485482"/>
              <a:gd name="connsiteX103" fmla="*/ 549574 w 1213200"/>
              <a:gd name="connsiteY103" fmla="*/ 484473 h 485482"/>
              <a:gd name="connsiteX104" fmla="*/ 549574 w 1213200"/>
              <a:gd name="connsiteY104" fmla="*/ 448642 h 485482"/>
              <a:gd name="connsiteX105" fmla="*/ 508696 w 1213200"/>
              <a:gd name="connsiteY105" fmla="*/ 448642 h 485482"/>
              <a:gd name="connsiteX106" fmla="*/ 508696 w 1213200"/>
              <a:gd name="connsiteY106" fmla="*/ 484473 h 485482"/>
              <a:gd name="connsiteX107" fmla="*/ 499108 w 1213200"/>
              <a:gd name="connsiteY107" fmla="*/ 484473 h 485482"/>
              <a:gd name="connsiteX108" fmla="*/ 272011 w 1213200"/>
              <a:gd name="connsiteY108" fmla="*/ 404232 h 485482"/>
              <a:gd name="connsiteX109" fmla="*/ 302900 w 1213200"/>
              <a:gd name="connsiteY109" fmla="*/ 404232 h 485482"/>
              <a:gd name="connsiteX110" fmla="*/ 329037 w 1213200"/>
              <a:gd name="connsiteY110" fmla="*/ 429382 h 485482"/>
              <a:gd name="connsiteX111" fmla="*/ 313592 w 1213200"/>
              <a:gd name="connsiteY111" fmla="*/ 452137 h 485482"/>
              <a:gd name="connsiteX112" fmla="*/ 329037 w 1213200"/>
              <a:gd name="connsiteY112" fmla="*/ 484473 h 485482"/>
              <a:gd name="connsiteX113" fmla="*/ 318345 w 1213200"/>
              <a:gd name="connsiteY113" fmla="*/ 484473 h 485482"/>
              <a:gd name="connsiteX114" fmla="*/ 304088 w 1213200"/>
              <a:gd name="connsiteY114" fmla="*/ 454532 h 485482"/>
              <a:gd name="connsiteX115" fmla="*/ 281515 w 1213200"/>
              <a:gd name="connsiteY115" fmla="*/ 454532 h 485482"/>
              <a:gd name="connsiteX116" fmla="*/ 281515 w 1213200"/>
              <a:gd name="connsiteY116" fmla="*/ 484473 h 485482"/>
              <a:gd name="connsiteX117" fmla="*/ 272011 w 1213200"/>
              <a:gd name="connsiteY117" fmla="*/ 484473 h 485482"/>
              <a:gd name="connsiteX118" fmla="*/ 122632 w 1213200"/>
              <a:gd name="connsiteY118" fmla="*/ 404232 h 485482"/>
              <a:gd name="connsiteX119" fmla="*/ 152428 w 1213200"/>
              <a:gd name="connsiteY119" fmla="*/ 404232 h 485482"/>
              <a:gd name="connsiteX120" fmla="*/ 178649 w 1213200"/>
              <a:gd name="connsiteY120" fmla="*/ 429382 h 485482"/>
              <a:gd name="connsiteX121" fmla="*/ 152428 w 1213200"/>
              <a:gd name="connsiteY121" fmla="*/ 454532 h 485482"/>
              <a:gd name="connsiteX122" fmla="*/ 132167 w 1213200"/>
              <a:gd name="connsiteY122" fmla="*/ 454532 h 485482"/>
              <a:gd name="connsiteX123" fmla="*/ 132167 w 1213200"/>
              <a:gd name="connsiteY123" fmla="*/ 484473 h 485482"/>
              <a:gd name="connsiteX124" fmla="*/ 122632 w 1213200"/>
              <a:gd name="connsiteY124" fmla="*/ 484473 h 485482"/>
              <a:gd name="connsiteX125" fmla="*/ 29775 w 1213200"/>
              <a:gd name="connsiteY125" fmla="*/ 404232 h 485482"/>
              <a:gd name="connsiteX126" fmla="*/ 41887 w 1213200"/>
              <a:gd name="connsiteY126" fmla="*/ 404232 h 485482"/>
              <a:gd name="connsiteX127" fmla="*/ 71662 w 1213200"/>
              <a:gd name="connsiteY127" fmla="*/ 484473 h 485482"/>
              <a:gd name="connsiteX128" fmla="*/ 61064 w 1213200"/>
              <a:gd name="connsiteY128" fmla="*/ 484473 h 485482"/>
              <a:gd name="connsiteX129" fmla="*/ 53999 w 1213200"/>
              <a:gd name="connsiteY129" fmla="*/ 463782 h 485482"/>
              <a:gd name="connsiteX130" fmla="*/ 18168 w 1213200"/>
              <a:gd name="connsiteY130" fmla="*/ 463782 h 485482"/>
              <a:gd name="connsiteX131" fmla="*/ 9589 w 1213200"/>
              <a:gd name="connsiteY131" fmla="*/ 484473 h 485482"/>
              <a:gd name="connsiteX132" fmla="*/ 0 w 1213200"/>
              <a:gd name="connsiteY132" fmla="*/ 484473 h 485482"/>
              <a:gd name="connsiteX133" fmla="*/ 793576 w 1213200"/>
              <a:gd name="connsiteY133" fmla="*/ 402718 h 485482"/>
              <a:gd name="connsiteX134" fmla="*/ 824613 w 1213200"/>
              <a:gd name="connsiteY134" fmla="*/ 431505 h 485482"/>
              <a:gd name="connsiteX135" fmla="*/ 824613 w 1213200"/>
              <a:gd name="connsiteY135" fmla="*/ 456695 h 485482"/>
              <a:gd name="connsiteX136" fmla="*/ 793576 w 1213200"/>
              <a:gd name="connsiteY136" fmla="*/ 485482 h 485482"/>
              <a:gd name="connsiteX137" fmla="*/ 762540 w 1213200"/>
              <a:gd name="connsiteY137" fmla="*/ 456695 h 485482"/>
              <a:gd name="connsiteX138" fmla="*/ 762540 w 1213200"/>
              <a:gd name="connsiteY138" fmla="*/ 431505 h 485482"/>
              <a:gd name="connsiteX139" fmla="*/ 793576 w 1213200"/>
              <a:gd name="connsiteY139" fmla="*/ 402718 h 485482"/>
              <a:gd name="connsiteX140" fmla="*/ 718476 w 1213200"/>
              <a:gd name="connsiteY140" fmla="*/ 402718 h 485482"/>
              <a:gd name="connsiteX141" fmla="*/ 748409 w 1213200"/>
              <a:gd name="connsiteY141" fmla="*/ 429107 h 485482"/>
              <a:gd name="connsiteX142" fmla="*/ 748409 w 1213200"/>
              <a:gd name="connsiteY142" fmla="*/ 430306 h 485482"/>
              <a:gd name="connsiteX143" fmla="*/ 738830 w 1213200"/>
              <a:gd name="connsiteY143" fmla="*/ 430306 h 485482"/>
              <a:gd name="connsiteX144" fmla="*/ 738830 w 1213200"/>
              <a:gd name="connsiteY144" fmla="*/ 429107 h 485482"/>
              <a:gd name="connsiteX145" fmla="*/ 718476 w 1213200"/>
              <a:gd name="connsiteY145" fmla="*/ 411114 h 485482"/>
              <a:gd name="connsiteX146" fmla="*/ 696924 w 1213200"/>
              <a:gd name="connsiteY146" fmla="*/ 431505 h 485482"/>
              <a:gd name="connsiteX147" fmla="*/ 696924 w 1213200"/>
              <a:gd name="connsiteY147" fmla="*/ 456695 h 485482"/>
              <a:gd name="connsiteX148" fmla="*/ 718476 w 1213200"/>
              <a:gd name="connsiteY148" fmla="*/ 477086 h 485482"/>
              <a:gd name="connsiteX149" fmla="*/ 738830 w 1213200"/>
              <a:gd name="connsiteY149" fmla="*/ 459093 h 485482"/>
              <a:gd name="connsiteX150" fmla="*/ 748409 w 1213200"/>
              <a:gd name="connsiteY150" fmla="*/ 459093 h 485482"/>
              <a:gd name="connsiteX151" fmla="*/ 718476 w 1213200"/>
              <a:gd name="connsiteY151" fmla="*/ 485482 h 485482"/>
              <a:gd name="connsiteX152" fmla="*/ 687345 w 1213200"/>
              <a:gd name="connsiteY152" fmla="*/ 456695 h 485482"/>
              <a:gd name="connsiteX153" fmla="*/ 687345 w 1213200"/>
              <a:gd name="connsiteY153" fmla="*/ 431505 h 485482"/>
              <a:gd name="connsiteX154" fmla="*/ 718476 w 1213200"/>
              <a:gd name="connsiteY154" fmla="*/ 402718 h 485482"/>
              <a:gd name="connsiteX155" fmla="*/ 450572 w 1213200"/>
              <a:gd name="connsiteY155" fmla="*/ 402718 h 485482"/>
              <a:gd name="connsiteX156" fmla="*/ 481445 w 1213200"/>
              <a:gd name="connsiteY156" fmla="*/ 429107 h 485482"/>
              <a:gd name="connsiteX157" fmla="*/ 481445 w 1213200"/>
              <a:gd name="connsiteY157" fmla="*/ 430306 h 485482"/>
              <a:gd name="connsiteX158" fmla="*/ 471946 w 1213200"/>
              <a:gd name="connsiteY158" fmla="*/ 430306 h 485482"/>
              <a:gd name="connsiteX159" fmla="*/ 471946 w 1213200"/>
              <a:gd name="connsiteY159" fmla="*/ 429107 h 485482"/>
              <a:gd name="connsiteX160" fmla="*/ 450572 w 1213200"/>
              <a:gd name="connsiteY160" fmla="*/ 411114 h 485482"/>
              <a:gd name="connsiteX161" fmla="*/ 430385 w 1213200"/>
              <a:gd name="connsiteY161" fmla="*/ 431505 h 485482"/>
              <a:gd name="connsiteX162" fmla="*/ 430385 w 1213200"/>
              <a:gd name="connsiteY162" fmla="*/ 456695 h 485482"/>
              <a:gd name="connsiteX163" fmla="*/ 450572 w 1213200"/>
              <a:gd name="connsiteY163" fmla="*/ 477086 h 485482"/>
              <a:gd name="connsiteX164" fmla="*/ 471946 w 1213200"/>
              <a:gd name="connsiteY164" fmla="*/ 459093 h 485482"/>
              <a:gd name="connsiteX165" fmla="*/ 481445 w 1213200"/>
              <a:gd name="connsiteY165" fmla="*/ 459093 h 485482"/>
              <a:gd name="connsiteX166" fmla="*/ 450572 w 1213200"/>
              <a:gd name="connsiteY166" fmla="*/ 485482 h 485482"/>
              <a:gd name="connsiteX167" fmla="*/ 420886 w 1213200"/>
              <a:gd name="connsiteY167" fmla="*/ 456695 h 485482"/>
              <a:gd name="connsiteX168" fmla="*/ 420886 w 1213200"/>
              <a:gd name="connsiteY168" fmla="*/ 431505 h 485482"/>
              <a:gd name="connsiteX169" fmla="*/ 450572 w 1213200"/>
              <a:gd name="connsiteY169" fmla="*/ 402718 h 485482"/>
              <a:gd name="connsiteX170" fmla="*/ 374364 w 1213200"/>
              <a:gd name="connsiteY170" fmla="*/ 402718 h 485482"/>
              <a:gd name="connsiteX171" fmla="*/ 403036 w 1213200"/>
              <a:gd name="connsiteY171" fmla="*/ 426708 h 485482"/>
              <a:gd name="connsiteX172" fmla="*/ 403036 w 1213200"/>
              <a:gd name="connsiteY172" fmla="*/ 427907 h 485482"/>
              <a:gd name="connsiteX173" fmla="*/ 393479 w 1213200"/>
              <a:gd name="connsiteY173" fmla="*/ 427907 h 485482"/>
              <a:gd name="connsiteX174" fmla="*/ 393479 w 1213200"/>
              <a:gd name="connsiteY174" fmla="*/ 426708 h 485482"/>
              <a:gd name="connsiteX175" fmla="*/ 374364 w 1213200"/>
              <a:gd name="connsiteY175" fmla="*/ 411114 h 485482"/>
              <a:gd name="connsiteX176" fmla="*/ 356443 w 1213200"/>
              <a:gd name="connsiteY176" fmla="*/ 424309 h 485482"/>
              <a:gd name="connsiteX177" fmla="*/ 368390 w 1213200"/>
              <a:gd name="connsiteY177" fmla="*/ 437503 h 485482"/>
              <a:gd name="connsiteX178" fmla="*/ 383921 w 1213200"/>
              <a:gd name="connsiteY178" fmla="*/ 441101 h 485482"/>
              <a:gd name="connsiteX179" fmla="*/ 404231 w 1213200"/>
              <a:gd name="connsiteY179" fmla="*/ 462692 h 485482"/>
              <a:gd name="connsiteX180" fmla="*/ 374364 w 1213200"/>
              <a:gd name="connsiteY180" fmla="*/ 485482 h 485482"/>
              <a:gd name="connsiteX181" fmla="*/ 345691 w 1213200"/>
              <a:gd name="connsiteY181" fmla="*/ 461492 h 485482"/>
              <a:gd name="connsiteX182" fmla="*/ 345691 w 1213200"/>
              <a:gd name="connsiteY182" fmla="*/ 460293 h 485482"/>
              <a:gd name="connsiteX183" fmla="*/ 355249 w 1213200"/>
              <a:gd name="connsiteY183" fmla="*/ 460293 h 485482"/>
              <a:gd name="connsiteX184" fmla="*/ 355249 w 1213200"/>
              <a:gd name="connsiteY184" fmla="*/ 461492 h 485482"/>
              <a:gd name="connsiteX185" fmla="*/ 374364 w 1213200"/>
              <a:gd name="connsiteY185" fmla="*/ 477086 h 485482"/>
              <a:gd name="connsiteX186" fmla="*/ 393479 w 1213200"/>
              <a:gd name="connsiteY186" fmla="*/ 462692 h 485482"/>
              <a:gd name="connsiteX187" fmla="*/ 381532 w 1213200"/>
              <a:gd name="connsiteY187" fmla="*/ 449498 h 485482"/>
              <a:gd name="connsiteX188" fmla="*/ 366001 w 1213200"/>
              <a:gd name="connsiteY188" fmla="*/ 447099 h 485482"/>
              <a:gd name="connsiteX189" fmla="*/ 346886 w 1213200"/>
              <a:gd name="connsiteY189" fmla="*/ 425508 h 485482"/>
              <a:gd name="connsiteX190" fmla="*/ 374364 w 1213200"/>
              <a:gd name="connsiteY190" fmla="*/ 402718 h 485482"/>
              <a:gd name="connsiteX191" fmla="*/ 221798 w 1213200"/>
              <a:gd name="connsiteY191" fmla="*/ 402718 h 485482"/>
              <a:gd name="connsiteX192" fmla="*/ 252834 w 1213200"/>
              <a:gd name="connsiteY192" fmla="*/ 431505 h 485482"/>
              <a:gd name="connsiteX193" fmla="*/ 252834 w 1213200"/>
              <a:gd name="connsiteY193" fmla="*/ 456695 h 485482"/>
              <a:gd name="connsiteX194" fmla="*/ 221798 w 1213200"/>
              <a:gd name="connsiteY194" fmla="*/ 485482 h 485482"/>
              <a:gd name="connsiteX195" fmla="*/ 190761 w 1213200"/>
              <a:gd name="connsiteY195" fmla="*/ 456695 h 485482"/>
              <a:gd name="connsiteX196" fmla="*/ 190761 w 1213200"/>
              <a:gd name="connsiteY196" fmla="*/ 431505 h 485482"/>
              <a:gd name="connsiteX197" fmla="*/ 221798 w 1213200"/>
              <a:gd name="connsiteY197" fmla="*/ 402718 h 485482"/>
              <a:gd name="connsiteX198" fmla="*/ 1049691 w 1213200"/>
              <a:gd name="connsiteY198" fmla="*/ 43905 h 485482"/>
              <a:gd name="connsiteX199" fmla="*/ 1049691 w 1213200"/>
              <a:gd name="connsiteY199" fmla="*/ 130202 h 485482"/>
              <a:gd name="connsiteX200" fmla="*/ 1114157 w 1213200"/>
              <a:gd name="connsiteY200" fmla="*/ 130202 h 485482"/>
              <a:gd name="connsiteX201" fmla="*/ 1160716 w 1213200"/>
              <a:gd name="connsiteY201" fmla="*/ 87054 h 485482"/>
              <a:gd name="connsiteX202" fmla="*/ 1114157 w 1213200"/>
              <a:gd name="connsiteY202" fmla="*/ 43905 h 485482"/>
              <a:gd name="connsiteX203" fmla="*/ 1049691 w 1213200"/>
              <a:gd name="connsiteY203" fmla="*/ 43905 h 485482"/>
              <a:gd name="connsiteX204" fmla="*/ 999729 w 1213200"/>
              <a:gd name="connsiteY204" fmla="*/ 0 h 485482"/>
              <a:gd name="connsiteX205" fmla="*/ 1115234 w 1213200"/>
              <a:gd name="connsiteY205" fmla="*/ 0 h 485482"/>
              <a:gd name="connsiteX206" fmla="*/ 1211686 w 1213200"/>
              <a:gd name="connsiteY206" fmla="*/ 87253 h 485482"/>
              <a:gd name="connsiteX207" fmla="*/ 1115234 w 1213200"/>
              <a:gd name="connsiteY207" fmla="*/ 173311 h 485482"/>
              <a:gd name="connsiteX208" fmla="*/ 1049741 w 1213200"/>
              <a:gd name="connsiteY208" fmla="*/ 173311 h 485482"/>
              <a:gd name="connsiteX209" fmla="*/ 1049741 w 1213200"/>
              <a:gd name="connsiteY209" fmla="*/ 295226 h 485482"/>
              <a:gd name="connsiteX210" fmla="*/ 999729 w 1213200"/>
              <a:gd name="connsiteY210" fmla="*/ 295226 h 485482"/>
              <a:gd name="connsiteX211" fmla="*/ 999729 w 1213200"/>
              <a:gd name="connsiteY211" fmla="*/ 0 h 485482"/>
              <a:gd name="connsiteX212" fmla="*/ 717625 w 1213200"/>
              <a:gd name="connsiteY212" fmla="*/ 0 h 485482"/>
              <a:gd name="connsiteX213" fmla="*/ 767586 w 1213200"/>
              <a:gd name="connsiteY213" fmla="*/ 0 h 485482"/>
              <a:gd name="connsiteX214" fmla="*/ 767586 w 1213200"/>
              <a:gd name="connsiteY214" fmla="*/ 129193 h 485482"/>
              <a:gd name="connsiteX215" fmla="*/ 893751 w 1213200"/>
              <a:gd name="connsiteY215" fmla="*/ 129193 h 485482"/>
              <a:gd name="connsiteX216" fmla="*/ 893751 w 1213200"/>
              <a:gd name="connsiteY216" fmla="*/ 0 h 485482"/>
              <a:gd name="connsiteX217" fmla="*/ 943712 w 1213200"/>
              <a:gd name="connsiteY217" fmla="*/ 0 h 485482"/>
              <a:gd name="connsiteX218" fmla="*/ 943712 w 1213200"/>
              <a:gd name="connsiteY218" fmla="*/ 295226 h 485482"/>
              <a:gd name="connsiteX219" fmla="*/ 893751 w 1213200"/>
              <a:gd name="connsiteY219" fmla="*/ 295226 h 485482"/>
              <a:gd name="connsiteX220" fmla="*/ 893751 w 1213200"/>
              <a:gd name="connsiteY220" fmla="*/ 173098 h 485482"/>
              <a:gd name="connsiteX221" fmla="*/ 767586 w 1213200"/>
              <a:gd name="connsiteY221" fmla="*/ 173098 h 485482"/>
              <a:gd name="connsiteX222" fmla="*/ 767586 w 1213200"/>
              <a:gd name="connsiteY222" fmla="*/ 295226 h 485482"/>
              <a:gd name="connsiteX223" fmla="*/ 717625 w 1213200"/>
              <a:gd name="connsiteY223" fmla="*/ 295226 h 485482"/>
              <a:gd name="connsiteX224" fmla="*/ 401708 w 1213200"/>
              <a:gd name="connsiteY224" fmla="*/ 0 h 485482"/>
              <a:gd name="connsiteX225" fmla="*/ 448137 w 1213200"/>
              <a:gd name="connsiteY225" fmla="*/ 0 h 485482"/>
              <a:gd name="connsiteX226" fmla="*/ 531405 w 1213200"/>
              <a:gd name="connsiteY226" fmla="*/ 135249 h 485482"/>
              <a:gd name="connsiteX227" fmla="*/ 616188 w 1213200"/>
              <a:gd name="connsiteY227" fmla="*/ 0 h 485482"/>
              <a:gd name="connsiteX228" fmla="*/ 661607 w 1213200"/>
              <a:gd name="connsiteY228" fmla="*/ 0 h 485482"/>
              <a:gd name="connsiteX229" fmla="*/ 661607 w 1213200"/>
              <a:gd name="connsiteY229" fmla="*/ 295226 h 485482"/>
              <a:gd name="connsiteX230" fmla="*/ 612655 w 1213200"/>
              <a:gd name="connsiteY230" fmla="*/ 295226 h 485482"/>
              <a:gd name="connsiteX231" fmla="*/ 612655 w 1213200"/>
              <a:gd name="connsiteY231" fmla="*/ 93362 h 485482"/>
              <a:gd name="connsiteX232" fmla="*/ 531405 w 1213200"/>
              <a:gd name="connsiteY232" fmla="*/ 221041 h 485482"/>
              <a:gd name="connsiteX233" fmla="*/ 451669 w 1213200"/>
              <a:gd name="connsiteY233" fmla="*/ 93362 h 485482"/>
              <a:gd name="connsiteX234" fmla="*/ 451669 w 1213200"/>
              <a:gd name="connsiteY234" fmla="*/ 295226 h 485482"/>
              <a:gd name="connsiteX235" fmla="*/ 401708 w 1213200"/>
              <a:gd name="connsiteY235" fmla="*/ 295226 h 485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1213200" h="485482">
                <a:moveTo>
                  <a:pt x="1022440" y="413820"/>
                </a:moveTo>
                <a:lnTo>
                  <a:pt x="1006795" y="455707"/>
                </a:lnTo>
                <a:lnTo>
                  <a:pt x="1038084" y="455707"/>
                </a:lnTo>
                <a:close/>
                <a:moveTo>
                  <a:pt x="35830" y="413820"/>
                </a:moveTo>
                <a:lnTo>
                  <a:pt x="20186" y="455707"/>
                </a:lnTo>
                <a:lnTo>
                  <a:pt x="51475" y="455707"/>
                </a:lnTo>
                <a:close/>
                <a:moveTo>
                  <a:pt x="942703" y="412306"/>
                </a:moveTo>
                <a:lnTo>
                  <a:pt x="942703" y="446118"/>
                </a:lnTo>
                <a:cubicBezTo>
                  <a:pt x="962906" y="446118"/>
                  <a:pt x="962906" y="446118"/>
                  <a:pt x="962906" y="446118"/>
                </a:cubicBezTo>
                <a:cubicBezTo>
                  <a:pt x="972413" y="446118"/>
                  <a:pt x="979543" y="441288"/>
                  <a:pt x="979543" y="429212"/>
                </a:cubicBezTo>
                <a:cubicBezTo>
                  <a:pt x="979543" y="417136"/>
                  <a:pt x="972413" y="412306"/>
                  <a:pt x="962906" y="412306"/>
                </a:cubicBezTo>
                <a:cubicBezTo>
                  <a:pt x="942703" y="412306"/>
                  <a:pt x="942703" y="412306"/>
                  <a:pt x="942703" y="412306"/>
                </a:cubicBezTo>
                <a:close/>
                <a:moveTo>
                  <a:pt x="281095" y="412306"/>
                </a:moveTo>
                <a:lnTo>
                  <a:pt x="281095" y="446118"/>
                </a:lnTo>
                <a:cubicBezTo>
                  <a:pt x="302669" y="446118"/>
                  <a:pt x="302669" y="446118"/>
                  <a:pt x="302669" y="446118"/>
                </a:cubicBezTo>
                <a:cubicBezTo>
                  <a:pt x="312258" y="446118"/>
                  <a:pt x="319449" y="441288"/>
                  <a:pt x="319449" y="429212"/>
                </a:cubicBezTo>
                <a:cubicBezTo>
                  <a:pt x="319449" y="417136"/>
                  <a:pt x="312258" y="412306"/>
                  <a:pt x="302669" y="412306"/>
                </a:cubicBezTo>
                <a:cubicBezTo>
                  <a:pt x="281095" y="412306"/>
                  <a:pt x="281095" y="412306"/>
                  <a:pt x="281095" y="412306"/>
                </a:cubicBezTo>
                <a:close/>
                <a:moveTo>
                  <a:pt x="132221" y="412306"/>
                </a:moveTo>
                <a:lnTo>
                  <a:pt x="132221" y="446118"/>
                </a:lnTo>
                <a:cubicBezTo>
                  <a:pt x="152525" y="446118"/>
                  <a:pt x="152525" y="446118"/>
                  <a:pt x="152525" y="446118"/>
                </a:cubicBezTo>
                <a:cubicBezTo>
                  <a:pt x="162080" y="446118"/>
                  <a:pt x="168052" y="441288"/>
                  <a:pt x="168052" y="429212"/>
                </a:cubicBezTo>
                <a:cubicBezTo>
                  <a:pt x="168052" y="417136"/>
                  <a:pt x="162080" y="412306"/>
                  <a:pt x="152525" y="412306"/>
                </a:cubicBezTo>
                <a:cubicBezTo>
                  <a:pt x="132221" y="412306"/>
                  <a:pt x="132221" y="412306"/>
                  <a:pt x="132221" y="412306"/>
                </a:cubicBezTo>
                <a:close/>
                <a:moveTo>
                  <a:pt x="793576" y="411297"/>
                </a:moveTo>
                <a:cubicBezTo>
                  <a:pt x="780469" y="411297"/>
                  <a:pt x="772128" y="418454"/>
                  <a:pt x="772128" y="431575"/>
                </a:cubicBezTo>
                <a:cubicBezTo>
                  <a:pt x="772128" y="456625"/>
                  <a:pt x="772128" y="456625"/>
                  <a:pt x="772128" y="456625"/>
                </a:cubicBezTo>
                <a:cubicBezTo>
                  <a:pt x="772128" y="469746"/>
                  <a:pt x="780469" y="476903"/>
                  <a:pt x="793576" y="476903"/>
                </a:cubicBezTo>
                <a:cubicBezTo>
                  <a:pt x="807875" y="476903"/>
                  <a:pt x="815024" y="469746"/>
                  <a:pt x="815024" y="456625"/>
                </a:cubicBezTo>
                <a:lnTo>
                  <a:pt x="815024" y="431575"/>
                </a:lnTo>
                <a:cubicBezTo>
                  <a:pt x="815024" y="418454"/>
                  <a:pt x="807875" y="411297"/>
                  <a:pt x="793576" y="411297"/>
                </a:cubicBezTo>
                <a:close/>
                <a:moveTo>
                  <a:pt x="221798" y="411297"/>
                </a:moveTo>
                <a:cubicBezTo>
                  <a:pt x="207499" y="411297"/>
                  <a:pt x="200350" y="418454"/>
                  <a:pt x="200350" y="431575"/>
                </a:cubicBezTo>
                <a:cubicBezTo>
                  <a:pt x="200350" y="456625"/>
                  <a:pt x="200350" y="456625"/>
                  <a:pt x="200350" y="456625"/>
                </a:cubicBezTo>
                <a:cubicBezTo>
                  <a:pt x="200350" y="469746"/>
                  <a:pt x="207499" y="476903"/>
                  <a:pt x="221798" y="476903"/>
                </a:cubicBezTo>
                <a:cubicBezTo>
                  <a:pt x="234905" y="476903"/>
                  <a:pt x="243246" y="469746"/>
                  <a:pt x="243246" y="456625"/>
                </a:cubicBezTo>
                <a:lnTo>
                  <a:pt x="243246" y="431575"/>
                </a:lnTo>
                <a:cubicBezTo>
                  <a:pt x="243246" y="418454"/>
                  <a:pt x="234905" y="411297"/>
                  <a:pt x="221798" y="411297"/>
                </a:cubicBezTo>
                <a:close/>
                <a:moveTo>
                  <a:pt x="1144062" y="404232"/>
                </a:moveTo>
                <a:lnTo>
                  <a:pt x="1154660" y="404232"/>
                </a:lnTo>
                <a:lnTo>
                  <a:pt x="1178379" y="443596"/>
                </a:lnTo>
                <a:lnTo>
                  <a:pt x="1201088" y="404232"/>
                </a:lnTo>
                <a:lnTo>
                  <a:pt x="1213200" y="404232"/>
                </a:lnTo>
                <a:lnTo>
                  <a:pt x="1183425" y="453184"/>
                </a:lnTo>
                <a:lnTo>
                  <a:pt x="1183425" y="484473"/>
                </a:lnTo>
                <a:lnTo>
                  <a:pt x="1173837" y="484473"/>
                </a:lnTo>
                <a:lnTo>
                  <a:pt x="1173837" y="453184"/>
                </a:lnTo>
                <a:close/>
                <a:moveTo>
                  <a:pt x="1071391" y="404232"/>
                </a:moveTo>
                <a:lnTo>
                  <a:pt x="1079466" y="404232"/>
                </a:lnTo>
                <a:lnTo>
                  <a:pt x="1121352" y="467315"/>
                </a:lnTo>
                <a:lnTo>
                  <a:pt x="1121352" y="404232"/>
                </a:lnTo>
                <a:lnTo>
                  <a:pt x="1130941" y="404232"/>
                </a:lnTo>
                <a:lnTo>
                  <a:pt x="1130941" y="484473"/>
                </a:lnTo>
                <a:lnTo>
                  <a:pt x="1122362" y="484473"/>
                </a:lnTo>
                <a:lnTo>
                  <a:pt x="1080980" y="420886"/>
                </a:lnTo>
                <a:lnTo>
                  <a:pt x="1080980" y="484473"/>
                </a:lnTo>
                <a:lnTo>
                  <a:pt x="1071391" y="484473"/>
                </a:lnTo>
                <a:close/>
                <a:moveTo>
                  <a:pt x="1017392" y="404232"/>
                </a:moveTo>
                <a:lnTo>
                  <a:pt x="1029504" y="404232"/>
                </a:lnTo>
                <a:lnTo>
                  <a:pt x="1058269" y="484473"/>
                </a:lnTo>
                <a:lnTo>
                  <a:pt x="1048681" y="484473"/>
                </a:lnTo>
                <a:lnTo>
                  <a:pt x="1040101" y="463782"/>
                </a:lnTo>
                <a:lnTo>
                  <a:pt x="1004271" y="463782"/>
                </a:lnTo>
                <a:lnTo>
                  <a:pt x="997205" y="484473"/>
                </a:lnTo>
                <a:lnTo>
                  <a:pt x="987617" y="484473"/>
                </a:lnTo>
                <a:close/>
                <a:moveTo>
                  <a:pt x="933114" y="404232"/>
                </a:moveTo>
                <a:cubicBezTo>
                  <a:pt x="962910" y="404232"/>
                  <a:pt x="962910" y="404232"/>
                  <a:pt x="962910" y="404232"/>
                </a:cubicBezTo>
                <a:cubicBezTo>
                  <a:pt x="978404" y="404232"/>
                  <a:pt x="989131" y="411418"/>
                  <a:pt x="989131" y="429382"/>
                </a:cubicBezTo>
                <a:cubicBezTo>
                  <a:pt x="989131" y="446149"/>
                  <a:pt x="978404" y="454532"/>
                  <a:pt x="962910" y="454532"/>
                </a:cubicBezTo>
                <a:cubicBezTo>
                  <a:pt x="942649" y="454532"/>
                  <a:pt x="942649" y="454532"/>
                  <a:pt x="942649" y="454532"/>
                </a:cubicBezTo>
                <a:cubicBezTo>
                  <a:pt x="942649" y="484473"/>
                  <a:pt x="942649" y="484473"/>
                  <a:pt x="942649" y="484473"/>
                </a:cubicBezTo>
                <a:cubicBezTo>
                  <a:pt x="933114" y="484473"/>
                  <a:pt x="933114" y="484473"/>
                  <a:pt x="933114" y="484473"/>
                </a:cubicBezTo>
                <a:close/>
                <a:moveTo>
                  <a:pt x="843790" y="404232"/>
                </a:moveTo>
                <a:lnTo>
                  <a:pt x="853378" y="404232"/>
                </a:lnTo>
                <a:lnTo>
                  <a:pt x="878107" y="452175"/>
                </a:lnTo>
                <a:lnTo>
                  <a:pt x="903340" y="404232"/>
                </a:lnTo>
                <a:lnTo>
                  <a:pt x="912928" y="404232"/>
                </a:lnTo>
                <a:lnTo>
                  <a:pt x="912928" y="484473"/>
                </a:lnTo>
                <a:lnTo>
                  <a:pt x="903340" y="484473"/>
                </a:lnTo>
                <a:lnTo>
                  <a:pt x="903340" y="423409"/>
                </a:lnTo>
                <a:lnTo>
                  <a:pt x="878107" y="469838"/>
                </a:lnTo>
                <a:lnTo>
                  <a:pt x="853378" y="423409"/>
                </a:lnTo>
                <a:lnTo>
                  <a:pt x="853378" y="484473"/>
                </a:lnTo>
                <a:lnTo>
                  <a:pt x="843790" y="484473"/>
                </a:lnTo>
                <a:close/>
                <a:moveTo>
                  <a:pt x="579348" y="404232"/>
                </a:moveTo>
                <a:lnTo>
                  <a:pt x="630319" y="404232"/>
                </a:lnTo>
                <a:lnTo>
                  <a:pt x="630319" y="412307"/>
                </a:lnTo>
                <a:lnTo>
                  <a:pt x="588937" y="412307"/>
                </a:lnTo>
                <a:lnTo>
                  <a:pt x="588937" y="440063"/>
                </a:lnTo>
                <a:lnTo>
                  <a:pt x="625777" y="440063"/>
                </a:lnTo>
                <a:lnTo>
                  <a:pt x="625777" y="448642"/>
                </a:lnTo>
                <a:lnTo>
                  <a:pt x="588937" y="448642"/>
                </a:lnTo>
                <a:lnTo>
                  <a:pt x="588937" y="475894"/>
                </a:lnTo>
                <a:lnTo>
                  <a:pt x="630319" y="475894"/>
                </a:lnTo>
                <a:lnTo>
                  <a:pt x="630319" y="484473"/>
                </a:lnTo>
                <a:lnTo>
                  <a:pt x="579348" y="484473"/>
                </a:lnTo>
                <a:close/>
                <a:moveTo>
                  <a:pt x="499108" y="404232"/>
                </a:moveTo>
                <a:lnTo>
                  <a:pt x="508696" y="404232"/>
                </a:lnTo>
                <a:lnTo>
                  <a:pt x="508696" y="440063"/>
                </a:lnTo>
                <a:lnTo>
                  <a:pt x="549574" y="440063"/>
                </a:lnTo>
                <a:lnTo>
                  <a:pt x="549574" y="404232"/>
                </a:lnTo>
                <a:lnTo>
                  <a:pt x="559162" y="404232"/>
                </a:lnTo>
                <a:lnTo>
                  <a:pt x="559162" y="484473"/>
                </a:lnTo>
                <a:lnTo>
                  <a:pt x="549574" y="484473"/>
                </a:lnTo>
                <a:lnTo>
                  <a:pt x="549574" y="448642"/>
                </a:lnTo>
                <a:lnTo>
                  <a:pt x="508696" y="448642"/>
                </a:lnTo>
                <a:lnTo>
                  <a:pt x="508696" y="484473"/>
                </a:lnTo>
                <a:lnTo>
                  <a:pt x="499108" y="484473"/>
                </a:lnTo>
                <a:close/>
                <a:moveTo>
                  <a:pt x="272011" y="404232"/>
                </a:moveTo>
                <a:cubicBezTo>
                  <a:pt x="302900" y="404232"/>
                  <a:pt x="302900" y="404232"/>
                  <a:pt x="302900" y="404232"/>
                </a:cubicBezTo>
                <a:cubicBezTo>
                  <a:pt x="318345" y="404232"/>
                  <a:pt x="329037" y="411418"/>
                  <a:pt x="329037" y="429382"/>
                </a:cubicBezTo>
                <a:cubicBezTo>
                  <a:pt x="329037" y="442556"/>
                  <a:pt x="323097" y="449742"/>
                  <a:pt x="313592" y="452137"/>
                </a:cubicBezTo>
                <a:cubicBezTo>
                  <a:pt x="329037" y="484473"/>
                  <a:pt x="329037" y="484473"/>
                  <a:pt x="329037" y="484473"/>
                </a:cubicBezTo>
                <a:cubicBezTo>
                  <a:pt x="318345" y="484473"/>
                  <a:pt x="318345" y="484473"/>
                  <a:pt x="318345" y="484473"/>
                </a:cubicBezTo>
                <a:cubicBezTo>
                  <a:pt x="304088" y="454532"/>
                  <a:pt x="304088" y="454532"/>
                  <a:pt x="304088" y="454532"/>
                </a:cubicBezTo>
                <a:cubicBezTo>
                  <a:pt x="281515" y="454532"/>
                  <a:pt x="281515" y="454532"/>
                  <a:pt x="281515" y="454532"/>
                </a:cubicBezTo>
                <a:cubicBezTo>
                  <a:pt x="281515" y="484473"/>
                  <a:pt x="281515" y="484473"/>
                  <a:pt x="281515" y="484473"/>
                </a:cubicBezTo>
                <a:cubicBezTo>
                  <a:pt x="272011" y="484473"/>
                  <a:pt x="272011" y="484473"/>
                  <a:pt x="272011" y="484473"/>
                </a:cubicBezTo>
                <a:close/>
                <a:moveTo>
                  <a:pt x="122632" y="404232"/>
                </a:moveTo>
                <a:cubicBezTo>
                  <a:pt x="152428" y="404232"/>
                  <a:pt x="152428" y="404232"/>
                  <a:pt x="152428" y="404232"/>
                </a:cubicBezTo>
                <a:cubicBezTo>
                  <a:pt x="167922" y="404232"/>
                  <a:pt x="178649" y="411418"/>
                  <a:pt x="178649" y="429382"/>
                </a:cubicBezTo>
                <a:cubicBezTo>
                  <a:pt x="178649" y="446149"/>
                  <a:pt x="167922" y="454532"/>
                  <a:pt x="152428" y="454532"/>
                </a:cubicBezTo>
                <a:cubicBezTo>
                  <a:pt x="132167" y="454532"/>
                  <a:pt x="132167" y="454532"/>
                  <a:pt x="132167" y="454532"/>
                </a:cubicBezTo>
                <a:cubicBezTo>
                  <a:pt x="132167" y="484473"/>
                  <a:pt x="132167" y="484473"/>
                  <a:pt x="132167" y="484473"/>
                </a:cubicBezTo>
                <a:cubicBezTo>
                  <a:pt x="122632" y="484473"/>
                  <a:pt x="122632" y="484473"/>
                  <a:pt x="122632" y="484473"/>
                </a:cubicBezTo>
                <a:close/>
                <a:moveTo>
                  <a:pt x="29775" y="404232"/>
                </a:moveTo>
                <a:lnTo>
                  <a:pt x="41887" y="404232"/>
                </a:lnTo>
                <a:lnTo>
                  <a:pt x="71662" y="484473"/>
                </a:lnTo>
                <a:lnTo>
                  <a:pt x="61064" y="484473"/>
                </a:lnTo>
                <a:lnTo>
                  <a:pt x="53999" y="463782"/>
                </a:lnTo>
                <a:lnTo>
                  <a:pt x="18168" y="463782"/>
                </a:lnTo>
                <a:lnTo>
                  <a:pt x="9589" y="484473"/>
                </a:lnTo>
                <a:lnTo>
                  <a:pt x="0" y="484473"/>
                </a:lnTo>
                <a:close/>
                <a:moveTo>
                  <a:pt x="793576" y="402718"/>
                </a:moveTo>
                <a:cubicBezTo>
                  <a:pt x="812676" y="402718"/>
                  <a:pt x="824613" y="413513"/>
                  <a:pt x="824613" y="431505"/>
                </a:cubicBezTo>
                <a:lnTo>
                  <a:pt x="824613" y="456695"/>
                </a:lnTo>
                <a:cubicBezTo>
                  <a:pt x="824613" y="474687"/>
                  <a:pt x="812676" y="485482"/>
                  <a:pt x="793576" y="485482"/>
                </a:cubicBezTo>
                <a:cubicBezTo>
                  <a:pt x="774477" y="485482"/>
                  <a:pt x="762540" y="474687"/>
                  <a:pt x="762540" y="456695"/>
                </a:cubicBezTo>
                <a:cubicBezTo>
                  <a:pt x="762540" y="431505"/>
                  <a:pt x="762540" y="431505"/>
                  <a:pt x="762540" y="431505"/>
                </a:cubicBezTo>
                <a:cubicBezTo>
                  <a:pt x="762540" y="413513"/>
                  <a:pt x="774477" y="402718"/>
                  <a:pt x="793576" y="402718"/>
                </a:cubicBezTo>
                <a:close/>
                <a:moveTo>
                  <a:pt x="718476" y="402718"/>
                </a:moveTo>
                <a:cubicBezTo>
                  <a:pt x="736436" y="402718"/>
                  <a:pt x="748409" y="412314"/>
                  <a:pt x="748409" y="429107"/>
                </a:cubicBezTo>
                <a:cubicBezTo>
                  <a:pt x="748409" y="430306"/>
                  <a:pt x="748409" y="430306"/>
                  <a:pt x="748409" y="430306"/>
                </a:cubicBezTo>
                <a:cubicBezTo>
                  <a:pt x="738830" y="430306"/>
                  <a:pt x="738830" y="430306"/>
                  <a:pt x="738830" y="430306"/>
                </a:cubicBezTo>
                <a:cubicBezTo>
                  <a:pt x="738830" y="429107"/>
                  <a:pt x="738830" y="429107"/>
                  <a:pt x="738830" y="429107"/>
                </a:cubicBezTo>
                <a:cubicBezTo>
                  <a:pt x="738830" y="418311"/>
                  <a:pt x="730449" y="411114"/>
                  <a:pt x="718476" y="411114"/>
                </a:cubicBezTo>
                <a:cubicBezTo>
                  <a:pt x="704108" y="411114"/>
                  <a:pt x="696924" y="418311"/>
                  <a:pt x="696924" y="431505"/>
                </a:cubicBezTo>
                <a:cubicBezTo>
                  <a:pt x="696924" y="456695"/>
                  <a:pt x="696924" y="456695"/>
                  <a:pt x="696924" y="456695"/>
                </a:cubicBezTo>
                <a:cubicBezTo>
                  <a:pt x="696924" y="469889"/>
                  <a:pt x="704108" y="477086"/>
                  <a:pt x="718476" y="477086"/>
                </a:cubicBezTo>
                <a:cubicBezTo>
                  <a:pt x="730449" y="477086"/>
                  <a:pt x="738830" y="471088"/>
                  <a:pt x="738830" y="459093"/>
                </a:cubicBezTo>
                <a:lnTo>
                  <a:pt x="748409" y="459093"/>
                </a:lnTo>
                <a:cubicBezTo>
                  <a:pt x="748409" y="475886"/>
                  <a:pt x="736436" y="485482"/>
                  <a:pt x="718476" y="485482"/>
                </a:cubicBezTo>
                <a:cubicBezTo>
                  <a:pt x="699318" y="485482"/>
                  <a:pt x="687345" y="474687"/>
                  <a:pt x="687345" y="456695"/>
                </a:cubicBezTo>
                <a:cubicBezTo>
                  <a:pt x="687345" y="431505"/>
                  <a:pt x="687345" y="431505"/>
                  <a:pt x="687345" y="431505"/>
                </a:cubicBezTo>
                <a:cubicBezTo>
                  <a:pt x="687345" y="413513"/>
                  <a:pt x="699318" y="402718"/>
                  <a:pt x="718476" y="402718"/>
                </a:cubicBezTo>
                <a:close/>
                <a:moveTo>
                  <a:pt x="450572" y="402718"/>
                </a:moveTo>
                <a:cubicBezTo>
                  <a:pt x="469571" y="402718"/>
                  <a:pt x="481445" y="412314"/>
                  <a:pt x="481445" y="429107"/>
                </a:cubicBezTo>
                <a:cubicBezTo>
                  <a:pt x="481445" y="430306"/>
                  <a:pt x="481445" y="430306"/>
                  <a:pt x="481445" y="430306"/>
                </a:cubicBezTo>
                <a:cubicBezTo>
                  <a:pt x="471946" y="430306"/>
                  <a:pt x="471946" y="430306"/>
                  <a:pt x="471946" y="430306"/>
                </a:cubicBezTo>
                <a:cubicBezTo>
                  <a:pt x="471946" y="429107"/>
                  <a:pt x="471946" y="429107"/>
                  <a:pt x="471946" y="429107"/>
                </a:cubicBezTo>
                <a:cubicBezTo>
                  <a:pt x="471946" y="418311"/>
                  <a:pt x="463634" y="411114"/>
                  <a:pt x="450572" y="411114"/>
                </a:cubicBezTo>
                <a:cubicBezTo>
                  <a:pt x="437510" y="411114"/>
                  <a:pt x="430385" y="418311"/>
                  <a:pt x="430385" y="431505"/>
                </a:cubicBezTo>
                <a:cubicBezTo>
                  <a:pt x="430385" y="456695"/>
                  <a:pt x="430385" y="456695"/>
                  <a:pt x="430385" y="456695"/>
                </a:cubicBezTo>
                <a:cubicBezTo>
                  <a:pt x="430385" y="469889"/>
                  <a:pt x="437510" y="477086"/>
                  <a:pt x="450572" y="477086"/>
                </a:cubicBezTo>
                <a:cubicBezTo>
                  <a:pt x="463634" y="477086"/>
                  <a:pt x="471946" y="471088"/>
                  <a:pt x="471946" y="459093"/>
                </a:cubicBezTo>
                <a:lnTo>
                  <a:pt x="481445" y="459093"/>
                </a:lnTo>
                <a:cubicBezTo>
                  <a:pt x="481445" y="475886"/>
                  <a:pt x="469571" y="485482"/>
                  <a:pt x="450572" y="485482"/>
                </a:cubicBezTo>
                <a:cubicBezTo>
                  <a:pt x="431573" y="485482"/>
                  <a:pt x="420886" y="474687"/>
                  <a:pt x="420886" y="456695"/>
                </a:cubicBezTo>
                <a:cubicBezTo>
                  <a:pt x="420886" y="431505"/>
                  <a:pt x="420886" y="431505"/>
                  <a:pt x="420886" y="431505"/>
                </a:cubicBezTo>
                <a:cubicBezTo>
                  <a:pt x="420886" y="413513"/>
                  <a:pt x="431573" y="402718"/>
                  <a:pt x="450572" y="402718"/>
                </a:cubicBezTo>
                <a:close/>
                <a:moveTo>
                  <a:pt x="374364" y="402718"/>
                </a:moveTo>
                <a:cubicBezTo>
                  <a:pt x="393479" y="402718"/>
                  <a:pt x="403036" y="411114"/>
                  <a:pt x="403036" y="426708"/>
                </a:cubicBezTo>
                <a:cubicBezTo>
                  <a:pt x="403036" y="427907"/>
                  <a:pt x="403036" y="427907"/>
                  <a:pt x="403036" y="427907"/>
                </a:cubicBezTo>
                <a:cubicBezTo>
                  <a:pt x="393479" y="427907"/>
                  <a:pt x="393479" y="427907"/>
                  <a:pt x="393479" y="427907"/>
                </a:cubicBezTo>
                <a:cubicBezTo>
                  <a:pt x="393479" y="426708"/>
                  <a:pt x="393479" y="426708"/>
                  <a:pt x="393479" y="426708"/>
                </a:cubicBezTo>
                <a:cubicBezTo>
                  <a:pt x="393479" y="415912"/>
                  <a:pt x="387505" y="411114"/>
                  <a:pt x="374364" y="411114"/>
                </a:cubicBezTo>
                <a:cubicBezTo>
                  <a:pt x="362417" y="411114"/>
                  <a:pt x="356443" y="415912"/>
                  <a:pt x="356443" y="424309"/>
                </a:cubicBezTo>
                <a:cubicBezTo>
                  <a:pt x="356443" y="432705"/>
                  <a:pt x="361222" y="436303"/>
                  <a:pt x="368390" y="437503"/>
                </a:cubicBezTo>
                <a:cubicBezTo>
                  <a:pt x="383921" y="441101"/>
                  <a:pt x="383921" y="441101"/>
                  <a:pt x="383921" y="441101"/>
                </a:cubicBezTo>
                <a:cubicBezTo>
                  <a:pt x="397063" y="443500"/>
                  <a:pt x="404231" y="450697"/>
                  <a:pt x="404231" y="462692"/>
                </a:cubicBezTo>
                <a:cubicBezTo>
                  <a:pt x="404231" y="478285"/>
                  <a:pt x="393479" y="485482"/>
                  <a:pt x="374364" y="485482"/>
                </a:cubicBezTo>
                <a:cubicBezTo>
                  <a:pt x="356443" y="485482"/>
                  <a:pt x="345691" y="477086"/>
                  <a:pt x="345691" y="461492"/>
                </a:cubicBezTo>
                <a:cubicBezTo>
                  <a:pt x="345691" y="460293"/>
                  <a:pt x="345691" y="460293"/>
                  <a:pt x="345691" y="460293"/>
                </a:cubicBezTo>
                <a:cubicBezTo>
                  <a:pt x="355249" y="460293"/>
                  <a:pt x="355249" y="460293"/>
                  <a:pt x="355249" y="460293"/>
                </a:cubicBezTo>
                <a:cubicBezTo>
                  <a:pt x="355249" y="461492"/>
                  <a:pt x="355249" y="461492"/>
                  <a:pt x="355249" y="461492"/>
                </a:cubicBezTo>
                <a:cubicBezTo>
                  <a:pt x="355249" y="472288"/>
                  <a:pt x="362417" y="477086"/>
                  <a:pt x="374364" y="477086"/>
                </a:cubicBezTo>
                <a:cubicBezTo>
                  <a:pt x="387505" y="477086"/>
                  <a:pt x="393479" y="472288"/>
                  <a:pt x="393479" y="462692"/>
                </a:cubicBezTo>
                <a:cubicBezTo>
                  <a:pt x="393479" y="455495"/>
                  <a:pt x="388700" y="450697"/>
                  <a:pt x="381532" y="449498"/>
                </a:cubicBezTo>
                <a:cubicBezTo>
                  <a:pt x="366001" y="447099"/>
                  <a:pt x="366001" y="447099"/>
                  <a:pt x="366001" y="447099"/>
                </a:cubicBezTo>
                <a:cubicBezTo>
                  <a:pt x="354054" y="444700"/>
                  <a:pt x="346886" y="437503"/>
                  <a:pt x="346886" y="425508"/>
                </a:cubicBezTo>
                <a:cubicBezTo>
                  <a:pt x="346886" y="411114"/>
                  <a:pt x="356443" y="402718"/>
                  <a:pt x="374364" y="402718"/>
                </a:cubicBezTo>
                <a:close/>
                <a:moveTo>
                  <a:pt x="221798" y="402718"/>
                </a:moveTo>
                <a:cubicBezTo>
                  <a:pt x="240897" y="402718"/>
                  <a:pt x="252834" y="413513"/>
                  <a:pt x="252834" y="431505"/>
                </a:cubicBezTo>
                <a:lnTo>
                  <a:pt x="252834" y="456695"/>
                </a:lnTo>
                <a:cubicBezTo>
                  <a:pt x="252834" y="474687"/>
                  <a:pt x="240897" y="485482"/>
                  <a:pt x="221798" y="485482"/>
                </a:cubicBezTo>
                <a:cubicBezTo>
                  <a:pt x="202698" y="485482"/>
                  <a:pt x="190761" y="474687"/>
                  <a:pt x="190761" y="456695"/>
                </a:cubicBezTo>
                <a:cubicBezTo>
                  <a:pt x="190761" y="431505"/>
                  <a:pt x="190761" y="431505"/>
                  <a:pt x="190761" y="431505"/>
                </a:cubicBezTo>
                <a:cubicBezTo>
                  <a:pt x="190761" y="413513"/>
                  <a:pt x="202698" y="402718"/>
                  <a:pt x="221798" y="402718"/>
                </a:cubicBezTo>
                <a:close/>
                <a:moveTo>
                  <a:pt x="1049691" y="43905"/>
                </a:moveTo>
                <a:cubicBezTo>
                  <a:pt x="1049691" y="43905"/>
                  <a:pt x="1049691" y="43905"/>
                  <a:pt x="1049691" y="130202"/>
                </a:cubicBezTo>
                <a:cubicBezTo>
                  <a:pt x="1049691" y="130202"/>
                  <a:pt x="1049691" y="130202"/>
                  <a:pt x="1114157" y="130202"/>
                </a:cubicBezTo>
                <a:cubicBezTo>
                  <a:pt x="1147584" y="130202"/>
                  <a:pt x="1160716" y="115819"/>
                  <a:pt x="1160716" y="87054"/>
                </a:cubicBezTo>
                <a:cubicBezTo>
                  <a:pt x="1160716" y="55891"/>
                  <a:pt x="1147584" y="43905"/>
                  <a:pt x="1114157" y="43905"/>
                </a:cubicBezTo>
                <a:cubicBezTo>
                  <a:pt x="1114157" y="43905"/>
                  <a:pt x="1114157" y="43905"/>
                  <a:pt x="1049691" y="43905"/>
                </a:cubicBezTo>
                <a:close/>
                <a:moveTo>
                  <a:pt x="999729" y="0"/>
                </a:moveTo>
                <a:cubicBezTo>
                  <a:pt x="999729" y="0"/>
                  <a:pt x="999729" y="0"/>
                  <a:pt x="1115234" y="0"/>
                </a:cubicBezTo>
                <a:cubicBezTo>
                  <a:pt x="1173581" y="0"/>
                  <a:pt x="1211686" y="23905"/>
                  <a:pt x="1211686" y="87253"/>
                </a:cubicBezTo>
                <a:cubicBezTo>
                  <a:pt x="1211686" y="145820"/>
                  <a:pt x="1174772" y="173311"/>
                  <a:pt x="1115234" y="173311"/>
                </a:cubicBezTo>
                <a:cubicBezTo>
                  <a:pt x="1115234" y="173311"/>
                  <a:pt x="1115234" y="173311"/>
                  <a:pt x="1049741" y="173311"/>
                </a:cubicBezTo>
                <a:cubicBezTo>
                  <a:pt x="1049741" y="173311"/>
                  <a:pt x="1049741" y="173311"/>
                  <a:pt x="1049741" y="295226"/>
                </a:cubicBezTo>
                <a:cubicBezTo>
                  <a:pt x="1049741" y="295226"/>
                  <a:pt x="1049741" y="295226"/>
                  <a:pt x="999729" y="295226"/>
                </a:cubicBezTo>
                <a:cubicBezTo>
                  <a:pt x="999729" y="295226"/>
                  <a:pt x="999729" y="295226"/>
                  <a:pt x="999729" y="0"/>
                </a:cubicBezTo>
                <a:close/>
                <a:moveTo>
                  <a:pt x="717625" y="0"/>
                </a:moveTo>
                <a:lnTo>
                  <a:pt x="767586" y="0"/>
                </a:lnTo>
                <a:lnTo>
                  <a:pt x="767586" y="129193"/>
                </a:lnTo>
                <a:lnTo>
                  <a:pt x="893751" y="129193"/>
                </a:lnTo>
                <a:lnTo>
                  <a:pt x="893751" y="0"/>
                </a:lnTo>
                <a:lnTo>
                  <a:pt x="943712" y="0"/>
                </a:lnTo>
                <a:lnTo>
                  <a:pt x="943712" y="295226"/>
                </a:lnTo>
                <a:lnTo>
                  <a:pt x="893751" y="295226"/>
                </a:lnTo>
                <a:lnTo>
                  <a:pt x="893751" y="173098"/>
                </a:lnTo>
                <a:lnTo>
                  <a:pt x="767586" y="173098"/>
                </a:lnTo>
                <a:lnTo>
                  <a:pt x="767586" y="295226"/>
                </a:lnTo>
                <a:lnTo>
                  <a:pt x="717625" y="295226"/>
                </a:lnTo>
                <a:close/>
                <a:moveTo>
                  <a:pt x="401708" y="0"/>
                </a:moveTo>
                <a:lnTo>
                  <a:pt x="448137" y="0"/>
                </a:lnTo>
                <a:lnTo>
                  <a:pt x="531405" y="135249"/>
                </a:lnTo>
                <a:lnTo>
                  <a:pt x="616188" y="0"/>
                </a:lnTo>
                <a:lnTo>
                  <a:pt x="661607" y="0"/>
                </a:lnTo>
                <a:lnTo>
                  <a:pt x="661607" y="295226"/>
                </a:lnTo>
                <a:lnTo>
                  <a:pt x="612655" y="295226"/>
                </a:lnTo>
                <a:lnTo>
                  <a:pt x="612655" y="93362"/>
                </a:lnTo>
                <a:lnTo>
                  <a:pt x="531405" y="221041"/>
                </a:lnTo>
                <a:lnTo>
                  <a:pt x="451669" y="93362"/>
                </a:lnTo>
                <a:lnTo>
                  <a:pt x="451669" y="295226"/>
                </a:lnTo>
                <a:lnTo>
                  <a:pt x="401708" y="295226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301" name="SmartArt-Platzhalter 300">
            <a:extLst>
              <a:ext uri="{FF2B5EF4-FFF2-40B4-BE49-F238E27FC236}">
                <a16:creationId xmlns:a16="http://schemas.microsoft.com/office/drawing/2014/main" id="{75DC54DC-758D-42F2-99F9-BAD25F1F1C23}"/>
              </a:ext>
            </a:extLst>
          </p:cNvPr>
          <p:cNvSpPr>
            <a:spLocks noGrp="1"/>
          </p:cNvSpPr>
          <p:nvPr>
            <p:ph type="dgm" sz="quarter" idx="16"/>
          </p:nvPr>
        </p:nvSpPr>
        <p:spPr bwMode="gray">
          <a:xfrm>
            <a:off x="10567565" y="488304"/>
            <a:ext cx="291692" cy="295226"/>
          </a:xfrm>
          <a:custGeom>
            <a:avLst/>
            <a:gdLst>
              <a:gd name="connsiteX0" fmla="*/ 117585 w 291692"/>
              <a:gd name="connsiteY0" fmla="*/ 163510 h 295226"/>
              <a:gd name="connsiteX1" fmla="*/ 166537 w 291692"/>
              <a:gd name="connsiteY1" fmla="*/ 163510 h 295226"/>
              <a:gd name="connsiteX2" fmla="*/ 145341 w 291692"/>
              <a:gd name="connsiteY2" fmla="*/ 295226 h 295226"/>
              <a:gd name="connsiteX3" fmla="*/ 96389 w 291692"/>
              <a:gd name="connsiteY3" fmla="*/ 295226 h 295226"/>
              <a:gd name="connsiteX4" fmla="*/ 242740 w 291692"/>
              <a:gd name="connsiteY4" fmla="*/ 0 h 295226"/>
              <a:gd name="connsiteX5" fmla="*/ 291692 w 291692"/>
              <a:gd name="connsiteY5" fmla="*/ 0 h 295226"/>
              <a:gd name="connsiteX6" fmla="*/ 291692 w 291692"/>
              <a:gd name="connsiteY6" fmla="*/ 295226 h 295226"/>
              <a:gd name="connsiteX7" fmla="*/ 242740 w 291692"/>
              <a:gd name="connsiteY7" fmla="*/ 295226 h 295226"/>
              <a:gd name="connsiteX8" fmla="*/ 145341 w 291692"/>
              <a:gd name="connsiteY8" fmla="*/ 0 h 295226"/>
              <a:gd name="connsiteX9" fmla="*/ 193788 w 291692"/>
              <a:gd name="connsiteY9" fmla="*/ 0 h 295226"/>
              <a:gd name="connsiteX10" fmla="*/ 175116 w 291692"/>
              <a:gd name="connsiteY10" fmla="*/ 114558 h 295226"/>
              <a:gd name="connsiteX11" fmla="*/ 126164 w 291692"/>
              <a:gd name="connsiteY11" fmla="*/ 114558 h 295226"/>
              <a:gd name="connsiteX12" fmla="*/ 0 w 291692"/>
              <a:gd name="connsiteY12" fmla="*/ 0 h 295226"/>
              <a:gd name="connsiteX13" fmla="*/ 48447 w 291692"/>
              <a:gd name="connsiteY13" fmla="*/ 0 h 295226"/>
              <a:gd name="connsiteX14" fmla="*/ 48447 w 291692"/>
              <a:gd name="connsiteY14" fmla="*/ 295226 h 295226"/>
              <a:gd name="connsiteX15" fmla="*/ 0 w 291692"/>
              <a:gd name="connsiteY15" fmla="*/ 295226 h 2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91692" h="295226">
                <a:moveTo>
                  <a:pt x="117585" y="163510"/>
                </a:moveTo>
                <a:lnTo>
                  <a:pt x="166537" y="163510"/>
                </a:lnTo>
                <a:lnTo>
                  <a:pt x="145341" y="295226"/>
                </a:lnTo>
                <a:lnTo>
                  <a:pt x="96389" y="295226"/>
                </a:lnTo>
                <a:close/>
                <a:moveTo>
                  <a:pt x="242740" y="0"/>
                </a:moveTo>
                <a:lnTo>
                  <a:pt x="291692" y="0"/>
                </a:lnTo>
                <a:lnTo>
                  <a:pt x="291692" y="295226"/>
                </a:lnTo>
                <a:lnTo>
                  <a:pt x="242740" y="295226"/>
                </a:lnTo>
                <a:close/>
                <a:moveTo>
                  <a:pt x="145341" y="0"/>
                </a:moveTo>
                <a:lnTo>
                  <a:pt x="193788" y="0"/>
                </a:lnTo>
                <a:lnTo>
                  <a:pt x="175116" y="114558"/>
                </a:lnTo>
                <a:lnTo>
                  <a:pt x="126164" y="114558"/>
                </a:lnTo>
                <a:close/>
                <a:moveTo>
                  <a:pt x="0" y="0"/>
                </a:moveTo>
                <a:lnTo>
                  <a:pt x="48447" y="0"/>
                </a:lnTo>
                <a:lnTo>
                  <a:pt x="48447" y="295226"/>
                </a:lnTo>
                <a:lnTo>
                  <a:pt x="0" y="29522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258CA7B2-F401-4F42-A355-B34ABB37D9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484313"/>
            <a:ext cx="5832475" cy="79216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lientitel einfügen</a:t>
            </a:r>
          </a:p>
        </p:txBody>
      </p:sp>
    </p:spTree>
    <p:extLst>
      <p:ext uri="{BB962C8B-B14F-4D97-AF65-F5344CB8AC3E}">
        <p14:creationId xmlns:p14="http://schemas.microsoft.com/office/powerpoint/2010/main" val="284120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+ Overlay recht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8FE2F768-31B7-4114-8D4D-032E4ED46F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B84AA348-C0BC-4803-9954-D368F59C6B1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 bwMode="gray">
          <a:xfrm>
            <a:off x="4295773" y="0"/>
            <a:ext cx="7896226" cy="6858000"/>
          </a:xfrm>
          <a:custGeom>
            <a:avLst/>
            <a:gdLst>
              <a:gd name="connsiteX0" fmla="*/ 1199851 w 7896226"/>
              <a:gd name="connsiteY0" fmla="*/ 0 h 6858000"/>
              <a:gd name="connsiteX1" fmla="*/ 1287952 w 7896226"/>
              <a:gd name="connsiteY1" fmla="*/ 0 h 6858000"/>
              <a:gd name="connsiteX2" fmla="*/ 1435012 w 7896226"/>
              <a:gd name="connsiteY2" fmla="*/ 0 h 6858000"/>
              <a:gd name="connsiteX3" fmla="*/ 1484852 w 7896226"/>
              <a:gd name="connsiteY3" fmla="*/ 0 h 6858000"/>
              <a:gd name="connsiteX4" fmla="*/ 1497368 w 7896226"/>
              <a:gd name="connsiteY4" fmla="*/ 0 h 6858000"/>
              <a:gd name="connsiteX5" fmla="*/ 1626717 w 7896226"/>
              <a:gd name="connsiteY5" fmla="*/ 0 h 6858000"/>
              <a:gd name="connsiteX6" fmla="*/ 1773777 w 7896226"/>
              <a:gd name="connsiteY6" fmla="*/ 0 h 6858000"/>
              <a:gd name="connsiteX7" fmla="*/ 1797093 w 7896226"/>
              <a:gd name="connsiteY7" fmla="*/ 0 h 6858000"/>
              <a:gd name="connsiteX8" fmla="*/ 1836133 w 7896226"/>
              <a:gd name="connsiteY8" fmla="*/ 0 h 6858000"/>
              <a:gd name="connsiteX9" fmla="*/ 2039501 w 7896226"/>
              <a:gd name="connsiteY9" fmla="*/ 0 h 6858000"/>
              <a:gd name="connsiteX10" fmla="*/ 2135858 w 7896226"/>
              <a:gd name="connsiteY10" fmla="*/ 0 h 6858000"/>
              <a:gd name="connsiteX11" fmla="*/ 2339226 w 7896226"/>
              <a:gd name="connsiteY11" fmla="*/ 0 h 6858000"/>
              <a:gd name="connsiteX12" fmla="*/ 2378266 w 7896226"/>
              <a:gd name="connsiteY12" fmla="*/ 0 h 6858000"/>
              <a:gd name="connsiteX13" fmla="*/ 2401582 w 7896226"/>
              <a:gd name="connsiteY13" fmla="*/ 0 h 6858000"/>
              <a:gd name="connsiteX14" fmla="*/ 2548642 w 7896226"/>
              <a:gd name="connsiteY14" fmla="*/ 0 h 6858000"/>
              <a:gd name="connsiteX15" fmla="*/ 2677991 w 7896226"/>
              <a:gd name="connsiteY15" fmla="*/ 0 h 6858000"/>
              <a:gd name="connsiteX16" fmla="*/ 2740347 w 7896226"/>
              <a:gd name="connsiteY16" fmla="*/ 0 h 6858000"/>
              <a:gd name="connsiteX17" fmla="*/ 2887407 w 7896226"/>
              <a:gd name="connsiteY17" fmla="*/ 0 h 6858000"/>
              <a:gd name="connsiteX18" fmla="*/ 3090775 w 7896226"/>
              <a:gd name="connsiteY18" fmla="*/ 0 h 6858000"/>
              <a:gd name="connsiteX19" fmla="*/ 3153131 w 7896226"/>
              <a:gd name="connsiteY19" fmla="*/ 0 h 6858000"/>
              <a:gd name="connsiteX20" fmla="*/ 3429540 w 7896226"/>
              <a:gd name="connsiteY20" fmla="*/ 0 h 6858000"/>
              <a:gd name="connsiteX21" fmla="*/ 3452856 w 7896226"/>
              <a:gd name="connsiteY21" fmla="*/ 0 h 6858000"/>
              <a:gd name="connsiteX22" fmla="*/ 3491896 w 7896226"/>
              <a:gd name="connsiteY22" fmla="*/ 0 h 6858000"/>
              <a:gd name="connsiteX23" fmla="*/ 3791621 w 7896226"/>
              <a:gd name="connsiteY23" fmla="*/ 0 h 6858000"/>
              <a:gd name="connsiteX24" fmla="*/ 3927963 w 7896226"/>
              <a:gd name="connsiteY24" fmla="*/ 0 h 6858000"/>
              <a:gd name="connsiteX25" fmla="*/ 4092598 w 7896226"/>
              <a:gd name="connsiteY25" fmla="*/ 0 h 6858000"/>
              <a:gd name="connsiteX26" fmla="*/ 4204405 w 7896226"/>
              <a:gd name="connsiteY26" fmla="*/ 0 h 6858000"/>
              <a:gd name="connsiteX27" fmla="*/ 4266728 w 7896226"/>
              <a:gd name="connsiteY27" fmla="*/ 0 h 6858000"/>
              <a:gd name="connsiteX28" fmla="*/ 4431363 w 7896226"/>
              <a:gd name="connsiteY28" fmla="*/ 0 h 6858000"/>
              <a:gd name="connsiteX29" fmla="*/ 4543170 w 7896226"/>
              <a:gd name="connsiteY29" fmla="*/ 0 h 6858000"/>
              <a:gd name="connsiteX30" fmla="*/ 4679512 w 7896226"/>
              <a:gd name="connsiteY30" fmla="*/ 0 h 6858000"/>
              <a:gd name="connsiteX31" fmla="*/ 4844147 w 7896226"/>
              <a:gd name="connsiteY31" fmla="*/ 0 h 6858000"/>
              <a:gd name="connsiteX32" fmla="*/ 4894769 w 7896226"/>
              <a:gd name="connsiteY32" fmla="*/ 0 h 6858000"/>
              <a:gd name="connsiteX33" fmla="*/ 4979237 w 7896226"/>
              <a:gd name="connsiteY33" fmla="*/ 0 h 6858000"/>
              <a:gd name="connsiteX34" fmla="*/ 5143872 w 7896226"/>
              <a:gd name="connsiteY34" fmla="*/ 0 h 6858000"/>
              <a:gd name="connsiteX35" fmla="*/ 5318002 w 7896226"/>
              <a:gd name="connsiteY35" fmla="*/ 0 h 6858000"/>
              <a:gd name="connsiteX36" fmla="*/ 5482637 w 7896226"/>
              <a:gd name="connsiteY36" fmla="*/ 0 h 6858000"/>
              <a:gd name="connsiteX37" fmla="*/ 5544642 w 7896226"/>
              <a:gd name="connsiteY37" fmla="*/ 0 h 6858000"/>
              <a:gd name="connsiteX38" fmla="*/ 5730786 w 7896226"/>
              <a:gd name="connsiteY38" fmla="*/ 0 h 6858000"/>
              <a:gd name="connsiteX39" fmla="*/ 5895421 w 7896226"/>
              <a:gd name="connsiteY39" fmla="*/ 0 h 6858000"/>
              <a:gd name="connsiteX40" fmla="*/ 5946043 w 7896226"/>
              <a:gd name="connsiteY40" fmla="*/ 0 h 6858000"/>
              <a:gd name="connsiteX41" fmla="*/ 7896226 w 7896226"/>
              <a:gd name="connsiteY41" fmla="*/ 0 h 6858000"/>
              <a:gd name="connsiteX42" fmla="*/ 7896226 w 7896226"/>
              <a:gd name="connsiteY42" fmla="*/ 6858000 h 6858000"/>
              <a:gd name="connsiteX43" fmla="*/ 5946043 w 7896226"/>
              <a:gd name="connsiteY43" fmla="*/ 6858000 h 6858000"/>
              <a:gd name="connsiteX44" fmla="*/ 5895421 w 7896226"/>
              <a:gd name="connsiteY44" fmla="*/ 6858000 h 6858000"/>
              <a:gd name="connsiteX45" fmla="*/ 5730786 w 7896226"/>
              <a:gd name="connsiteY45" fmla="*/ 6858000 h 6858000"/>
              <a:gd name="connsiteX46" fmla="*/ 5544642 w 7896226"/>
              <a:gd name="connsiteY46" fmla="*/ 6858000 h 6858000"/>
              <a:gd name="connsiteX47" fmla="*/ 5482637 w 7896226"/>
              <a:gd name="connsiteY47" fmla="*/ 6858000 h 6858000"/>
              <a:gd name="connsiteX48" fmla="*/ 5318002 w 7896226"/>
              <a:gd name="connsiteY48" fmla="*/ 6858000 h 6858000"/>
              <a:gd name="connsiteX49" fmla="*/ 5143872 w 7896226"/>
              <a:gd name="connsiteY49" fmla="*/ 6858000 h 6858000"/>
              <a:gd name="connsiteX50" fmla="*/ 4979237 w 7896226"/>
              <a:gd name="connsiteY50" fmla="*/ 6858000 h 6858000"/>
              <a:gd name="connsiteX51" fmla="*/ 4894769 w 7896226"/>
              <a:gd name="connsiteY51" fmla="*/ 6858000 h 6858000"/>
              <a:gd name="connsiteX52" fmla="*/ 4844147 w 7896226"/>
              <a:gd name="connsiteY52" fmla="*/ 6858000 h 6858000"/>
              <a:gd name="connsiteX53" fmla="*/ 4679512 w 7896226"/>
              <a:gd name="connsiteY53" fmla="*/ 6858000 h 6858000"/>
              <a:gd name="connsiteX54" fmla="*/ 4629390 w 7896226"/>
              <a:gd name="connsiteY54" fmla="*/ 6858000 h 6858000"/>
              <a:gd name="connsiteX55" fmla="*/ 4431363 w 7896226"/>
              <a:gd name="connsiteY55" fmla="*/ 6858000 h 6858000"/>
              <a:gd name="connsiteX56" fmla="*/ 4290625 w 7896226"/>
              <a:gd name="connsiteY56" fmla="*/ 6858000 h 6858000"/>
              <a:gd name="connsiteX57" fmla="*/ 4266728 w 7896226"/>
              <a:gd name="connsiteY57" fmla="*/ 6858000 h 6858000"/>
              <a:gd name="connsiteX58" fmla="*/ 4092598 w 7896226"/>
              <a:gd name="connsiteY58" fmla="*/ 6858000 h 6858000"/>
              <a:gd name="connsiteX59" fmla="*/ 3927963 w 7896226"/>
              <a:gd name="connsiteY59" fmla="*/ 6858000 h 6858000"/>
              <a:gd name="connsiteX60" fmla="*/ 3877841 w 7896226"/>
              <a:gd name="connsiteY60" fmla="*/ 6858000 h 6858000"/>
              <a:gd name="connsiteX61" fmla="*/ 3578116 w 7896226"/>
              <a:gd name="connsiteY61" fmla="*/ 6858000 h 6858000"/>
              <a:gd name="connsiteX62" fmla="*/ 3539076 w 7896226"/>
              <a:gd name="connsiteY62" fmla="*/ 6858000 h 6858000"/>
              <a:gd name="connsiteX63" fmla="*/ 3343320 w 7896226"/>
              <a:gd name="connsiteY63" fmla="*/ 6858000 h 6858000"/>
              <a:gd name="connsiteX64" fmla="*/ 3239351 w 7896226"/>
              <a:gd name="connsiteY64" fmla="*/ 6858000 h 6858000"/>
              <a:gd name="connsiteX65" fmla="*/ 3004555 w 7896226"/>
              <a:gd name="connsiteY65" fmla="*/ 6858000 h 6858000"/>
              <a:gd name="connsiteX66" fmla="*/ 2973627 w 7896226"/>
              <a:gd name="connsiteY66" fmla="*/ 6858000 h 6858000"/>
              <a:gd name="connsiteX67" fmla="*/ 2826567 w 7896226"/>
              <a:gd name="connsiteY67" fmla="*/ 6858000 h 6858000"/>
              <a:gd name="connsiteX68" fmla="*/ 2634862 w 7896226"/>
              <a:gd name="connsiteY68" fmla="*/ 6858000 h 6858000"/>
              <a:gd name="connsiteX69" fmla="*/ 2591771 w 7896226"/>
              <a:gd name="connsiteY69" fmla="*/ 6858000 h 6858000"/>
              <a:gd name="connsiteX70" fmla="*/ 2487802 w 7896226"/>
              <a:gd name="connsiteY70" fmla="*/ 6858000 h 6858000"/>
              <a:gd name="connsiteX71" fmla="*/ 2292046 w 7896226"/>
              <a:gd name="connsiteY71" fmla="*/ 6858000 h 6858000"/>
              <a:gd name="connsiteX72" fmla="*/ 2253006 w 7896226"/>
              <a:gd name="connsiteY72" fmla="*/ 6858000 h 6858000"/>
              <a:gd name="connsiteX73" fmla="*/ 2222078 w 7896226"/>
              <a:gd name="connsiteY73" fmla="*/ 6858000 h 6858000"/>
              <a:gd name="connsiteX74" fmla="*/ 1953281 w 7896226"/>
              <a:gd name="connsiteY74" fmla="*/ 6858000 h 6858000"/>
              <a:gd name="connsiteX75" fmla="*/ 1922353 w 7896226"/>
              <a:gd name="connsiteY75" fmla="*/ 6858000 h 6858000"/>
              <a:gd name="connsiteX76" fmla="*/ 1883313 w 7896226"/>
              <a:gd name="connsiteY76" fmla="*/ 6858000 h 6858000"/>
              <a:gd name="connsiteX77" fmla="*/ 1687557 w 7896226"/>
              <a:gd name="connsiteY77" fmla="*/ 6858000 h 6858000"/>
              <a:gd name="connsiteX78" fmla="*/ 1583588 w 7896226"/>
              <a:gd name="connsiteY78" fmla="*/ 6858000 h 6858000"/>
              <a:gd name="connsiteX79" fmla="*/ 1540497 w 7896226"/>
              <a:gd name="connsiteY79" fmla="*/ 6858000 h 6858000"/>
              <a:gd name="connsiteX80" fmla="*/ 1348792 w 7896226"/>
              <a:gd name="connsiteY80" fmla="*/ 6858000 h 6858000"/>
              <a:gd name="connsiteX81" fmla="*/ 1201732 w 7896226"/>
              <a:gd name="connsiteY81" fmla="*/ 6858000 h 6858000"/>
              <a:gd name="connsiteX82" fmla="*/ 1170804 w 7896226"/>
              <a:gd name="connsiteY82" fmla="*/ 6858000 h 6858000"/>
              <a:gd name="connsiteX83" fmla="*/ 936008 w 7896226"/>
              <a:gd name="connsiteY83" fmla="*/ 6858000 h 6858000"/>
              <a:gd name="connsiteX84" fmla="*/ 832039 w 7896226"/>
              <a:gd name="connsiteY84" fmla="*/ 6858000 h 6858000"/>
              <a:gd name="connsiteX85" fmla="*/ 636283 w 7896226"/>
              <a:gd name="connsiteY85" fmla="*/ 6858000 h 6858000"/>
              <a:gd name="connsiteX86" fmla="*/ 597243 w 7896226"/>
              <a:gd name="connsiteY86" fmla="*/ 6858000 h 6858000"/>
              <a:gd name="connsiteX87" fmla="*/ 297518 w 7896226"/>
              <a:gd name="connsiteY87" fmla="*/ 6858000 h 6858000"/>
              <a:gd name="connsiteX88" fmla="*/ 285002 w 7896226"/>
              <a:gd name="connsiteY88" fmla="*/ 6858000 h 6858000"/>
              <a:gd name="connsiteX89" fmla="*/ 0 w 7896226"/>
              <a:gd name="connsiteY8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896226" h="6858000">
                <a:moveTo>
                  <a:pt x="1199851" y="0"/>
                </a:moveTo>
                <a:lnTo>
                  <a:pt x="1287952" y="0"/>
                </a:lnTo>
                <a:lnTo>
                  <a:pt x="1435012" y="0"/>
                </a:lnTo>
                <a:lnTo>
                  <a:pt x="1484852" y="0"/>
                </a:lnTo>
                <a:lnTo>
                  <a:pt x="1497368" y="0"/>
                </a:lnTo>
                <a:lnTo>
                  <a:pt x="1626717" y="0"/>
                </a:lnTo>
                <a:lnTo>
                  <a:pt x="1773777" y="0"/>
                </a:lnTo>
                <a:lnTo>
                  <a:pt x="1797093" y="0"/>
                </a:lnTo>
                <a:lnTo>
                  <a:pt x="1836133" y="0"/>
                </a:lnTo>
                <a:lnTo>
                  <a:pt x="2039501" y="0"/>
                </a:lnTo>
                <a:lnTo>
                  <a:pt x="2135858" y="0"/>
                </a:lnTo>
                <a:lnTo>
                  <a:pt x="2339226" y="0"/>
                </a:lnTo>
                <a:lnTo>
                  <a:pt x="2378266" y="0"/>
                </a:lnTo>
                <a:lnTo>
                  <a:pt x="2401582" y="0"/>
                </a:lnTo>
                <a:lnTo>
                  <a:pt x="2548642" y="0"/>
                </a:lnTo>
                <a:lnTo>
                  <a:pt x="2677991" y="0"/>
                </a:lnTo>
                <a:lnTo>
                  <a:pt x="2740347" y="0"/>
                </a:lnTo>
                <a:lnTo>
                  <a:pt x="2887407" y="0"/>
                </a:lnTo>
                <a:lnTo>
                  <a:pt x="3090775" y="0"/>
                </a:lnTo>
                <a:lnTo>
                  <a:pt x="3153131" y="0"/>
                </a:lnTo>
                <a:lnTo>
                  <a:pt x="3429540" y="0"/>
                </a:lnTo>
                <a:lnTo>
                  <a:pt x="3452856" y="0"/>
                </a:lnTo>
                <a:lnTo>
                  <a:pt x="3491896" y="0"/>
                </a:lnTo>
                <a:lnTo>
                  <a:pt x="3791621" y="0"/>
                </a:lnTo>
                <a:lnTo>
                  <a:pt x="3927963" y="0"/>
                </a:lnTo>
                <a:lnTo>
                  <a:pt x="4092598" y="0"/>
                </a:lnTo>
                <a:lnTo>
                  <a:pt x="4204405" y="0"/>
                </a:lnTo>
                <a:lnTo>
                  <a:pt x="4266728" y="0"/>
                </a:lnTo>
                <a:lnTo>
                  <a:pt x="4431363" y="0"/>
                </a:lnTo>
                <a:lnTo>
                  <a:pt x="4543170" y="0"/>
                </a:lnTo>
                <a:lnTo>
                  <a:pt x="4679512" y="0"/>
                </a:lnTo>
                <a:lnTo>
                  <a:pt x="4844147" y="0"/>
                </a:lnTo>
                <a:lnTo>
                  <a:pt x="4894769" y="0"/>
                </a:lnTo>
                <a:lnTo>
                  <a:pt x="4979237" y="0"/>
                </a:lnTo>
                <a:lnTo>
                  <a:pt x="5143872" y="0"/>
                </a:lnTo>
                <a:lnTo>
                  <a:pt x="5318002" y="0"/>
                </a:lnTo>
                <a:lnTo>
                  <a:pt x="5482637" y="0"/>
                </a:lnTo>
                <a:lnTo>
                  <a:pt x="5544642" y="0"/>
                </a:lnTo>
                <a:lnTo>
                  <a:pt x="5730786" y="0"/>
                </a:lnTo>
                <a:lnTo>
                  <a:pt x="5895421" y="0"/>
                </a:lnTo>
                <a:lnTo>
                  <a:pt x="5946043" y="0"/>
                </a:lnTo>
                <a:lnTo>
                  <a:pt x="7896226" y="0"/>
                </a:lnTo>
                <a:lnTo>
                  <a:pt x="7896226" y="6858000"/>
                </a:lnTo>
                <a:lnTo>
                  <a:pt x="5946043" y="6858000"/>
                </a:lnTo>
                <a:lnTo>
                  <a:pt x="5895421" y="6858000"/>
                </a:lnTo>
                <a:lnTo>
                  <a:pt x="5730786" y="6858000"/>
                </a:lnTo>
                <a:lnTo>
                  <a:pt x="5544642" y="6858000"/>
                </a:lnTo>
                <a:lnTo>
                  <a:pt x="5482637" y="6858000"/>
                </a:lnTo>
                <a:lnTo>
                  <a:pt x="5318002" y="6858000"/>
                </a:lnTo>
                <a:lnTo>
                  <a:pt x="5143872" y="6858000"/>
                </a:lnTo>
                <a:lnTo>
                  <a:pt x="4979237" y="6858000"/>
                </a:lnTo>
                <a:lnTo>
                  <a:pt x="4894769" y="6858000"/>
                </a:lnTo>
                <a:lnTo>
                  <a:pt x="4844147" y="6858000"/>
                </a:lnTo>
                <a:lnTo>
                  <a:pt x="4679512" y="6858000"/>
                </a:lnTo>
                <a:lnTo>
                  <a:pt x="4629390" y="6858000"/>
                </a:lnTo>
                <a:lnTo>
                  <a:pt x="4431363" y="6858000"/>
                </a:lnTo>
                <a:lnTo>
                  <a:pt x="4290625" y="6858000"/>
                </a:lnTo>
                <a:lnTo>
                  <a:pt x="4266728" y="6858000"/>
                </a:lnTo>
                <a:lnTo>
                  <a:pt x="4092598" y="6858000"/>
                </a:lnTo>
                <a:lnTo>
                  <a:pt x="3927963" y="6858000"/>
                </a:lnTo>
                <a:lnTo>
                  <a:pt x="3877841" y="6858000"/>
                </a:lnTo>
                <a:lnTo>
                  <a:pt x="3578116" y="6858000"/>
                </a:lnTo>
                <a:lnTo>
                  <a:pt x="3539076" y="6858000"/>
                </a:lnTo>
                <a:lnTo>
                  <a:pt x="3343320" y="6858000"/>
                </a:lnTo>
                <a:lnTo>
                  <a:pt x="3239351" y="6858000"/>
                </a:lnTo>
                <a:lnTo>
                  <a:pt x="3004555" y="6858000"/>
                </a:lnTo>
                <a:lnTo>
                  <a:pt x="2973627" y="6858000"/>
                </a:lnTo>
                <a:lnTo>
                  <a:pt x="2826567" y="6858000"/>
                </a:lnTo>
                <a:lnTo>
                  <a:pt x="2634862" y="6858000"/>
                </a:lnTo>
                <a:lnTo>
                  <a:pt x="2591771" y="6858000"/>
                </a:lnTo>
                <a:lnTo>
                  <a:pt x="2487802" y="6858000"/>
                </a:lnTo>
                <a:lnTo>
                  <a:pt x="2292046" y="6858000"/>
                </a:lnTo>
                <a:lnTo>
                  <a:pt x="2253006" y="6858000"/>
                </a:lnTo>
                <a:lnTo>
                  <a:pt x="2222078" y="6858000"/>
                </a:lnTo>
                <a:lnTo>
                  <a:pt x="1953281" y="6858000"/>
                </a:lnTo>
                <a:lnTo>
                  <a:pt x="1922353" y="6858000"/>
                </a:lnTo>
                <a:lnTo>
                  <a:pt x="1883313" y="6858000"/>
                </a:lnTo>
                <a:lnTo>
                  <a:pt x="1687557" y="6858000"/>
                </a:lnTo>
                <a:lnTo>
                  <a:pt x="1583588" y="6858000"/>
                </a:lnTo>
                <a:lnTo>
                  <a:pt x="1540497" y="6858000"/>
                </a:lnTo>
                <a:lnTo>
                  <a:pt x="1348792" y="6858000"/>
                </a:lnTo>
                <a:lnTo>
                  <a:pt x="1201732" y="6858000"/>
                </a:lnTo>
                <a:lnTo>
                  <a:pt x="1170804" y="6858000"/>
                </a:lnTo>
                <a:lnTo>
                  <a:pt x="936008" y="6858000"/>
                </a:lnTo>
                <a:lnTo>
                  <a:pt x="832039" y="6858000"/>
                </a:lnTo>
                <a:lnTo>
                  <a:pt x="636283" y="6858000"/>
                </a:lnTo>
                <a:lnTo>
                  <a:pt x="597243" y="6858000"/>
                </a:lnTo>
                <a:lnTo>
                  <a:pt x="297518" y="6858000"/>
                </a:lnTo>
                <a:lnTo>
                  <a:pt x="28500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/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21951E-D998-406D-8DA3-CD1E5D0FB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55C038-ADBC-4355-B701-93788356F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EEAC42-F94F-4D9A-8CB5-ED46D3DC3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7" name="SmartArt-Platzhalter 296">
            <a:extLst>
              <a:ext uri="{FF2B5EF4-FFF2-40B4-BE49-F238E27FC236}">
                <a16:creationId xmlns:a16="http://schemas.microsoft.com/office/drawing/2014/main" id="{5A909AA4-7409-4340-B373-87656CD8C6E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0566051" y="488304"/>
            <a:ext cx="1213200" cy="485482"/>
          </a:xfrm>
          <a:custGeom>
            <a:avLst/>
            <a:gdLst>
              <a:gd name="connsiteX0" fmla="*/ 1022440 w 1213200"/>
              <a:gd name="connsiteY0" fmla="*/ 413820 h 485482"/>
              <a:gd name="connsiteX1" fmla="*/ 1006795 w 1213200"/>
              <a:gd name="connsiteY1" fmla="*/ 455707 h 485482"/>
              <a:gd name="connsiteX2" fmla="*/ 1038084 w 1213200"/>
              <a:gd name="connsiteY2" fmla="*/ 455707 h 485482"/>
              <a:gd name="connsiteX3" fmla="*/ 35830 w 1213200"/>
              <a:gd name="connsiteY3" fmla="*/ 413820 h 485482"/>
              <a:gd name="connsiteX4" fmla="*/ 20186 w 1213200"/>
              <a:gd name="connsiteY4" fmla="*/ 455707 h 485482"/>
              <a:gd name="connsiteX5" fmla="*/ 51475 w 1213200"/>
              <a:gd name="connsiteY5" fmla="*/ 455707 h 485482"/>
              <a:gd name="connsiteX6" fmla="*/ 942703 w 1213200"/>
              <a:gd name="connsiteY6" fmla="*/ 412306 h 485482"/>
              <a:gd name="connsiteX7" fmla="*/ 942703 w 1213200"/>
              <a:gd name="connsiteY7" fmla="*/ 446118 h 485482"/>
              <a:gd name="connsiteX8" fmla="*/ 962906 w 1213200"/>
              <a:gd name="connsiteY8" fmla="*/ 446118 h 485482"/>
              <a:gd name="connsiteX9" fmla="*/ 979543 w 1213200"/>
              <a:gd name="connsiteY9" fmla="*/ 429212 h 485482"/>
              <a:gd name="connsiteX10" fmla="*/ 962906 w 1213200"/>
              <a:gd name="connsiteY10" fmla="*/ 412306 h 485482"/>
              <a:gd name="connsiteX11" fmla="*/ 942703 w 1213200"/>
              <a:gd name="connsiteY11" fmla="*/ 412306 h 485482"/>
              <a:gd name="connsiteX12" fmla="*/ 281095 w 1213200"/>
              <a:gd name="connsiteY12" fmla="*/ 412306 h 485482"/>
              <a:gd name="connsiteX13" fmla="*/ 281095 w 1213200"/>
              <a:gd name="connsiteY13" fmla="*/ 446118 h 485482"/>
              <a:gd name="connsiteX14" fmla="*/ 302669 w 1213200"/>
              <a:gd name="connsiteY14" fmla="*/ 446118 h 485482"/>
              <a:gd name="connsiteX15" fmla="*/ 319449 w 1213200"/>
              <a:gd name="connsiteY15" fmla="*/ 429212 h 485482"/>
              <a:gd name="connsiteX16" fmla="*/ 302669 w 1213200"/>
              <a:gd name="connsiteY16" fmla="*/ 412306 h 485482"/>
              <a:gd name="connsiteX17" fmla="*/ 281095 w 1213200"/>
              <a:gd name="connsiteY17" fmla="*/ 412306 h 485482"/>
              <a:gd name="connsiteX18" fmla="*/ 132221 w 1213200"/>
              <a:gd name="connsiteY18" fmla="*/ 412306 h 485482"/>
              <a:gd name="connsiteX19" fmla="*/ 132221 w 1213200"/>
              <a:gd name="connsiteY19" fmla="*/ 446118 h 485482"/>
              <a:gd name="connsiteX20" fmla="*/ 152525 w 1213200"/>
              <a:gd name="connsiteY20" fmla="*/ 446118 h 485482"/>
              <a:gd name="connsiteX21" fmla="*/ 168052 w 1213200"/>
              <a:gd name="connsiteY21" fmla="*/ 429212 h 485482"/>
              <a:gd name="connsiteX22" fmla="*/ 152525 w 1213200"/>
              <a:gd name="connsiteY22" fmla="*/ 412306 h 485482"/>
              <a:gd name="connsiteX23" fmla="*/ 132221 w 1213200"/>
              <a:gd name="connsiteY23" fmla="*/ 412306 h 485482"/>
              <a:gd name="connsiteX24" fmla="*/ 793576 w 1213200"/>
              <a:gd name="connsiteY24" fmla="*/ 411297 h 485482"/>
              <a:gd name="connsiteX25" fmla="*/ 772128 w 1213200"/>
              <a:gd name="connsiteY25" fmla="*/ 431575 h 485482"/>
              <a:gd name="connsiteX26" fmla="*/ 772128 w 1213200"/>
              <a:gd name="connsiteY26" fmla="*/ 456625 h 485482"/>
              <a:gd name="connsiteX27" fmla="*/ 793576 w 1213200"/>
              <a:gd name="connsiteY27" fmla="*/ 476903 h 485482"/>
              <a:gd name="connsiteX28" fmla="*/ 815024 w 1213200"/>
              <a:gd name="connsiteY28" fmla="*/ 456625 h 485482"/>
              <a:gd name="connsiteX29" fmla="*/ 815024 w 1213200"/>
              <a:gd name="connsiteY29" fmla="*/ 431575 h 485482"/>
              <a:gd name="connsiteX30" fmla="*/ 793576 w 1213200"/>
              <a:gd name="connsiteY30" fmla="*/ 411297 h 485482"/>
              <a:gd name="connsiteX31" fmla="*/ 221798 w 1213200"/>
              <a:gd name="connsiteY31" fmla="*/ 411297 h 485482"/>
              <a:gd name="connsiteX32" fmla="*/ 200350 w 1213200"/>
              <a:gd name="connsiteY32" fmla="*/ 431575 h 485482"/>
              <a:gd name="connsiteX33" fmla="*/ 200350 w 1213200"/>
              <a:gd name="connsiteY33" fmla="*/ 456625 h 485482"/>
              <a:gd name="connsiteX34" fmla="*/ 221798 w 1213200"/>
              <a:gd name="connsiteY34" fmla="*/ 476903 h 485482"/>
              <a:gd name="connsiteX35" fmla="*/ 243246 w 1213200"/>
              <a:gd name="connsiteY35" fmla="*/ 456625 h 485482"/>
              <a:gd name="connsiteX36" fmla="*/ 243246 w 1213200"/>
              <a:gd name="connsiteY36" fmla="*/ 431575 h 485482"/>
              <a:gd name="connsiteX37" fmla="*/ 221798 w 1213200"/>
              <a:gd name="connsiteY37" fmla="*/ 411297 h 485482"/>
              <a:gd name="connsiteX38" fmla="*/ 1144062 w 1213200"/>
              <a:gd name="connsiteY38" fmla="*/ 404232 h 485482"/>
              <a:gd name="connsiteX39" fmla="*/ 1154660 w 1213200"/>
              <a:gd name="connsiteY39" fmla="*/ 404232 h 485482"/>
              <a:gd name="connsiteX40" fmla="*/ 1178379 w 1213200"/>
              <a:gd name="connsiteY40" fmla="*/ 443596 h 485482"/>
              <a:gd name="connsiteX41" fmla="*/ 1201088 w 1213200"/>
              <a:gd name="connsiteY41" fmla="*/ 404232 h 485482"/>
              <a:gd name="connsiteX42" fmla="*/ 1213200 w 1213200"/>
              <a:gd name="connsiteY42" fmla="*/ 404232 h 485482"/>
              <a:gd name="connsiteX43" fmla="*/ 1183425 w 1213200"/>
              <a:gd name="connsiteY43" fmla="*/ 453184 h 485482"/>
              <a:gd name="connsiteX44" fmla="*/ 1183425 w 1213200"/>
              <a:gd name="connsiteY44" fmla="*/ 484473 h 485482"/>
              <a:gd name="connsiteX45" fmla="*/ 1173837 w 1213200"/>
              <a:gd name="connsiteY45" fmla="*/ 484473 h 485482"/>
              <a:gd name="connsiteX46" fmla="*/ 1173837 w 1213200"/>
              <a:gd name="connsiteY46" fmla="*/ 453184 h 485482"/>
              <a:gd name="connsiteX47" fmla="*/ 1071391 w 1213200"/>
              <a:gd name="connsiteY47" fmla="*/ 404232 h 485482"/>
              <a:gd name="connsiteX48" fmla="*/ 1079466 w 1213200"/>
              <a:gd name="connsiteY48" fmla="*/ 404232 h 485482"/>
              <a:gd name="connsiteX49" fmla="*/ 1121352 w 1213200"/>
              <a:gd name="connsiteY49" fmla="*/ 467315 h 485482"/>
              <a:gd name="connsiteX50" fmla="*/ 1121352 w 1213200"/>
              <a:gd name="connsiteY50" fmla="*/ 404232 h 485482"/>
              <a:gd name="connsiteX51" fmla="*/ 1130941 w 1213200"/>
              <a:gd name="connsiteY51" fmla="*/ 404232 h 485482"/>
              <a:gd name="connsiteX52" fmla="*/ 1130941 w 1213200"/>
              <a:gd name="connsiteY52" fmla="*/ 484473 h 485482"/>
              <a:gd name="connsiteX53" fmla="*/ 1122362 w 1213200"/>
              <a:gd name="connsiteY53" fmla="*/ 484473 h 485482"/>
              <a:gd name="connsiteX54" fmla="*/ 1080980 w 1213200"/>
              <a:gd name="connsiteY54" fmla="*/ 420886 h 485482"/>
              <a:gd name="connsiteX55" fmla="*/ 1080980 w 1213200"/>
              <a:gd name="connsiteY55" fmla="*/ 484473 h 485482"/>
              <a:gd name="connsiteX56" fmla="*/ 1071391 w 1213200"/>
              <a:gd name="connsiteY56" fmla="*/ 484473 h 485482"/>
              <a:gd name="connsiteX57" fmla="*/ 1017392 w 1213200"/>
              <a:gd name="connsiteY57" fmla="*/ 404232 h 485482"/>
              <a:gd name="connsiteX58" fmla="*/ 1029504 w 1213200"/>
              <a:gd name="connsiteY58" fmla="*/ 404232 h 485482"/>
              <a:gd name="connsiteX59" fmla="*/ 1058269 w 1213200"/>
              <a:gd name="connsiteY59" fmla="*/ 484473 h 485482"/>
              <a:gd name="connsiteX60" fmla="*/ 1048681 w 1213200"/>
              <a:gd name="connsiteY60" fmla="*/ 484473 h 485482"/>
              <a:gd name="connsiteX61" fmla="*/ 1040101 w 1213200"/>
              <a:gd name="connsiteY61" fmla="*/ 463782 h 485482"/>
              <a:gd name="connsiteX62" fmla="*/ 1004271 w 1213200"/>
              <a:gd name="connsiteY62" fmla="*/ 463782 h 485482"/>
              <a:gd name="connsiteX63" fmla="*/ 997205 w 1213200"/>
              <a:gd name="connsiteY63" fmla="*/ 484473 h 485482"/>
              <a:gd name="connsiteX64" fmla="*/ 987617 w 1213200"/>
              <a:gd name="connsiteY64" fmla="*/ 484473 h 485482"/>
              <a:gd name="connsiteX65" fmla="*/ 933114 w 1213200"/>
              <a:gd name="connsiteY65" fmla="*/ 404232 h 485482"/>
              <a:gd name="connsiteX66" fmla="*/ 962910 w 1213200"/>
              <a:gd name="connsiteY66" fmla="*/ 404232 h 485482"/>
              <a:gd name="connsiteX67" fmla="*/ 989131 w 1213200"/>
              <a:gd name="connsiteY67" fmla="*/ 429382 h 485482"/>
              <a:gd name="connsiteX68" fmla="*/ 962910 w 1213200"/>
              <a:gd name="connsiteY68" fmla="*/ 454532 h 485482"/>
              <a:gd name="connsiteX69" fmla="*/ 942649 w 1213200"/>
              <a:gd name="connsiteY69" fmla="*/ 454532 h 485482"/>
              <a:gd name="connsiteX70" fmla="*/ 942649 w 1213200"/>
              <a:gd name="connsiteY70" fmla="*/ 484473 h 485482"/>
              <a:gd name="connsiteX71" fmla="*/ 933114 w 1213200"/>
              <a:gd name="connsiteY71" fmla="*/ 484473 h 485482"/>
              <a:gd name="connsiteX72" fmla="*/ 843790 w 1213200"/>
              <a:gd name="connsiteY72" fmla="*/ 404232 h 485482"/>
              <a:gd name="connsiteX73" fmla="*/ 853378 w 1213200"/>
              <a:gd name="connsiteY73" fmla="*/ 404232 h 485482"/>
              <a:gd name="connsiteX74" fmla="*/ 878107 w 1213200"/>
              <a:gd name="connsiteY74" fmla="*/ 452175 h 485482"/>
              <a:gd name="connsiteX75" fmla="*/ 903340 w 1213200"/>
              <a:gd name="connsiteY75" fmla="*/ 404232 h 485482"/>
              <a:gd name="connsiteX76" fmla="*/ 912928 w 1213200"/>
              <a:gd name="connsiteY76" fmla="*/ 404232 h 485482"/>
              <a:gd name="connsiteX77" fmla="*/ 912928 w 1213200"/>
              <a:gd name="connsiteY77" fmla="*/ 484473 h 485482"/>
              <a:gd name="connsiteX78" fmla="*/ 903340 w 1213200"/>
              <a:gd name="connsiteY78" fmla="*/ 484473 h 485482"/>
              <a:gd name="connsiteX79" fmla="*/ 903340 w 1213200"/>
              <a:gd name="connsiteY79" fmla="*/ 423409 h 485482"/>
              <a:gd name="connsiteX80" fmla="*/ 878107 w 1213200"/>
              <a:gd name="connsiteY80" fmla="*/ 469838 h 485482"/>
              <a:gd name="connsiteX81" fmla="*/ 853378 w 1213200"/>
              <a:gd name="connsiteY81" fmla="*/ 423409 h 485482"/>
              <a:gd name="connsiteX82" fmla="*/ 853378 w 1213200"/>
              <a:gd name="connsiteY82" fmla="*/ 484473 h 485482"/>
              <a:gd name="connsiteX83" fmla="*/ 843790 w 1213200"/>
              <a:gd name="connsiteY83" fmla="*/ 484473 h 485482"/>
              <a:gd name="connsiteX84" fmla="*/ 579348 w 1213200"/>
              <a:gd name="connsiteY84" fmla="*/ 404232 h 485482"/>
              <a:gd name="connsiteX85" fmla="*/ 630319 w 1213200"/>
              <a:gd name="connsiteY85" fmla="*/ 404232 h 485482"/>
              <a:gd name="connsiteX86" fmla="*/ 630319 w 1213200"/>
              <a:gd name="connsiteY86" fmla="*/ 412307 h 485482"/>
              <a:gd name="connsiteX87" fmla="*/ 588937 w 1213200"/>
              <a:gd name="connsiteY87" fmla="*/ 412307 h 485482"/>
              <a:gd name="connsiteX88" fmla="*/ 588937 w 1213200"/>
              <a:gd name="connsiteY88" fmla="*/ 440063 h 485482"/>
              <a:gd name="connsiteX89" fmla="*/ 625777 w 1213200"/>
              <a:gd name="connsiteY89" fmla="*/ 440063 h 485482"/>
              <a:gd name="connsiteX90" fmla="*/ 625777 w 1213200"/>
              <a:gd name="connsiteY90" fmla="*/ 448642 h 485482"/>
              <a:gd name="connsiteX91" fmla="*/ 588937 w 1213200"/>
              <a:gd name="connsiteY91" fmla="*/ 448642 h 485482"/>
              <a:gd name="connsiteX92" fmla="*/ 588937 w 1213200"/>
              <a:gd name="connsiteY92" fmla="*/ 475894 h 485482"/>
              <a:gd name="connsiteX93" fmla="*/ 630319 w 1213200"/>
              <a:gd name="connsiteY93" fmla="*/ 475894 h 485482"/>
              <a:gd name="connsiteX94" fmla="*/ 630319 w 1213200"/>
              <a:gd name="connsiteY94" fmla="*/ 484473 h 485482"/>
              <a:gd name="connsiteX95" fmla="*/ 579348 w 1213200"/>
              <a:gd name="connsiteY95" fmla="*/ 484473 h 485482"/>
              <a:gd name="connsiteX96" fmla="*/ 499108 w 1213200"/>
              <a:gd name="connsiteY96" fmla="*/ 404232 h 485482"/>
              <a:gd name="connsiteX97" fmla="*/ 508696 w 1213200"/>
              <a:gd name="connsiteY97" fmla="*/ 404232 h 485482"/>
              <a:gd name="connsiteX98" fmla="*/ 508696 w 1213200"/>
              <a:gd name="connsiteY98" fmla="*/ 440063 h 485482"/>
              <a:gd name="connsiteX99" fmla="*/ 549574 w 1213200"/>
              <a:gd name="connsiteY99" fmla="*/ 440063 h 485482"/>
              <a:gd name="connsiteX100" fmla="*/ 549574 w 1213200"/>
              <a:gd name="connsiteY100" fmla="*/ 404232 h 485482"/>
              <a:gd name="connsiteX101" fmla="*/ 559162 w 1213200"/>
              <a:gd name="connsiteY101" fmla="*/ 404232 h 485482"/>
              <a:gd name="connsiteX102" fmla="*/ 559162 w 1213200"/>
              <a:gd name="connsiteY102" fmla="*/ 484473 h 485482"/>
              <a:gd name="connsiteX103" fmla="*/ 549574 w 1213200"/>
              <a:gd name="connsiteY103" fmla="*/ 484473 h 485482"/>
              <a:gd name="connsiteX104" fmla="*/ 549574 w 1213200"/>
              <a:gd name="connsiteY104" fmla="*/ 448642 h 485482"/>
              <a:gd name="connsiteX105" fmla="*/ 508696 w 1213200"/>
              <a:gd name="connsiteY105" fmla="*/ 448642 h 485482"/>
              <a:gd name="connsiteX106" fmla="*/ 508696 w 1213200"/>
              <a:gd name="connsiteY106" fmla="*/ 484473 h 485482"/>
              <a:gd name="connsiteX107" fmla="*/ 499108 w 1213200"/>
              <a:gd name="connsiteY107" fmla="*/ 484473 h 485482"/>
              <a:gd name="connsiteX108" fmla="*/ 272011 w 1213200"/>
              <a:gd name="connsiteY108" fmla="*/ 404232 h 485482"/>
              <a:gd name="connsiteX109" fmla="*/ 302900 w 1213200"/>
              <a:gd name="connsiteY109" fmla="*/ 404232 h 485482"/>
              <a:gd name="connsiteX110" fmla="*/ 329037 w 1213200"/>
              <a:gd name="connsiteY110" fmla="*/ 429382 h 485482"/>
              <a:gd name="connsiteX111" fmla="*/ 313592 w 1213200"/>
              <a:gd name="connsiteY111" fmla="*/ 452137 h 485482"/>
              <a:gd name="connsiteX112" fmla="*/ 329037 w 1213200"/>
              <a:gd name="connsiteY112" fmla="*/ 484473 h 485482"/>
              <a:gd name="connsiteX113" fmla="*/ 318345 w 1213200"/>
              <a:gd name="connsiteY113" fmla="*/ 484473 h 485482"/>
              <a:gd name="connsiteX114" fmla="*/ 304088 w 1213200"/>
              <a:gd name="connsiteY114" fmla="*/ 454532 h 485482"/>
              <a:gd name="connsiteX115" fmla="*/ 281515 w 1213200"/>
              <a:gd name="connsiteY115" fmla="*/ 454532 h 485482"/>
              <a:gd name="connsiteX116" fmla="*/ 281515 w 1213200"/>
              <a:gd name="connsiteY116" fmla="*/ 484473 h 485482"/>
              <a:gd name="connsiteX117" fmla="*/ 272011 w 1213200"/>
              <a:gd name="connsiteY117" fmla="*/ 484473 h 485482"/>
              <a:gd name="connsiteX118" fmla="*/ 122632 w 1213200"/>
              <a:gd name="connsiteY118" fmla="*/ 404232 h 485482"/>
              <a:gd name="connsiteX119" fmla="*/ 152428 w 1213200"/>
              <a:gd name="connsiteY119" fmla="*/ 404232 h 485482"/>
              <a:gd name="connsiteX120" fmla="*/ 178649 w 1213200"/>
              <a:gd name="connsiteY120" fmla="*/ 429382 h 485482"/>
              <a:gd name="connsiteX121" fmla="*/ 152428 w 1213200"/>
              <a:gd name="connsiteY121" fmla="*/ 454532 h 485482"/>
              <a:gd name="connsiteX122" fmla="*/ 132167 w 1213200"/>
              <a:gd name="connsiteY122" fmla="*/ 454532 h 485482"/>
              <a:gd name="connsiteX123" fmla="*/ 132167 w 1213200"/>
              <a:gd name="connsiteY123" fmla="*/ 484473 h 485482"/>
              <a:gd name="connsiteX124" fmla="*/ 122632 w 1213200"/>
              <a:gd name="connsiteY124" fmla="*/ 484473 h 485482"/>
              <a:gd name="connsiteX125" fmla="*/ 29775 w 1213200"/>
              <a:gd name="connsiteY125" fmla="*/ 404232 h 485482"/>
              <a:gd name="connsiteX126" fmla="*/ 41887 w 1213200"/>
              <a:gd name="connsiteY126" fmla="*/ 404232 h 485482"/>
              <a:gd name="connsiteX127" fmla="*/ 71662 w 1213200"/>
              <a:gd name="connsiteY127" fmla="*/ 484473 h 485482"/>
              <a:gd name="connsiteX128" fmla="*/ 61064 w 1213200"/>
              <a:gd name="connsiteY128" fmla="*/ 484473 h 485482"/>
              <a:gd name="connsiteX129" fmla="*/ 53999 w 1213200"/>
              <a:gd name="connsiteY129" fmla="*/ 463782 h 485482"/>
              <a:gd name="connsiteX130" fmla="*/ 18168 w 1213200"/>
              <a:gd name="connsiteY130" fmla="*/ 463782 h 485482"/>
              <a:gd name="connsiteX131" fmla="*/ 9589 w 1213200"/>
              <a:gd name="connsiteY131" fmla="*/ 484473 h 485482"/>
              <a:gd name="connsiteX132" fmla="*/ 0 w 1213200"/>
              <a:gd name="connsiteY132" fmla="*/ 484473 h 485482"/>
              <a:gd name="connsiteX133" fmla="*/ 793576 w 1213200"/>
              <a:gd name="connsiteY133" fmla="*/ 402718 h 485482"/>
              <a:gd name="connsiteX134" fmla="*/ 824613 w 1213200"/>
              <a:gd name="connsiteY134" fmla="*/ 431505 h 485482"/>
              <a:gd name="connsiteX135" fmla="*/ 824613 w 1213200"/>
              <a:gd name="connsiteY135" fmla="*/ 456695 h 485482"/>
              <a:gd name="connsiteX136" fmla="*/ 793576 w 1213200"/>
              <a:gd name="connsiteY136" fmla="*/ 485482 h 485482"/>
              <a:gd name="connsiteX137" fmla="*/ 762540 w 1213200"/>
              <a:gd name="connsiteY137" fmla="*/ 456695 h 485482"/>
              <a:gd name="connsiteX138" fmla="*/ 762540 w 1213200"/>
              <a:gd name="connsiteY138" fmla="*/ 431505 h 485482"/>
              <a:gd name="connsiteX139" fmla="*/ 793576 w 1213200"/>
              <a:gd name="connsiteY139" fmla="*/ 402718 h 485482"/>
              <a:gd name="connsiteX140" fmla="*/ 718476 w 1213200"/>
              <a:gd name="connsiteY140" fmla="*/ 402718 h 485482"/>
              <a:gd name="connsiteX141" fmla="*/ 748409 w 1213200"/>
              <a:gd name="connsiteY141" fmla="*/ 429107 h 485482"/>
              <a:gd name="connsiteX142" fmla="*/ 748409 w 1213200"/>
              <a:gd name="connsiteY142" fmla="*/ 430306 h 485482"/>
              <a:gd name="connsiteX143" fmla="*/ 738830 w 1213200"/>
              <a:gd name="connsiteY143" fmla="*/ 430306 h 485482"/>
              <a:gd name="connsiteX144" fmla="*/ 738830 w 1213200"/>
              <a:gd name="connsiteY144" fmla="*/ 429107 h 485482"/>
              <a:gd name="connsiteX145" fmla="*/ 718476 w 1213200"/>
              <a:gd name="connsiteY145" fmla="*/ 411114 h 485482"/>
              <a:gd name="connsiteX146" fmla="*/ 696924 w 1213200"/>
              <a:gd name="connsiteY146" fmla="*/ 431505 h 485482"/>
              <a:gd name="connsiteX147" fmla="*/ 696924 w 1213200"/>
              <a:gd name="connsiteY147" fmla="*/ 456695 h 485482"/>
              <a:gd name="connsiteX148" fmla="*/ 718476 w 1213200"/>
              <a:gd name="connsiteY148" fmla="*/ 477086 h 485482"/>
              <a:gd name="connsiteX149" fmla="*/ 738830 w 1213200"/>
              <a:gd name="connsiteY149" fmla="*/ 459093 h 485482"/>
              <a:gd name="connsiteX150" fmla="*/ 748409 w 1213200"/>
              <a:gd name="connsiteY150" fmla="*/ 459093 h 485482"/>
              <a:gd name="connsiteX151" fmla="*/ 718476 w 1213200"/>
              <a:gd name="connsiteY151" fmla="*/ 485482 h 485482"/>
              <a:gd name="connsiteX152" fmla="*/ 687345 w 1213200"/>
              <a:gd name="connsiteY152" fmla="*/ 456695 h 485482"/>
              <a:gd name="connsiteX153" fmla="*/ 687345 w 1213200"/>
              <a:gd name="connsiteY153" fmla="*/ 431505 h 485482"/>
              <a:gd name="connsiteX154" fmla="*/ 718476 w 1213200"/>
              <a:gd name="connsiteY154" fmla="*/ 402718 h 485482"/>
              <a:gd name="connsiteX155" fmla="*/ 450572 w 1213200"/>
              <a:gd name="connsiteY155" fmla="*/ 402718 h 485482"/>
              <a:gd name="connsiteX156" fmla="*/ 481445 w 1213200"/>
              <a:gd name="connsiteY156" fmla="*/ 429107 h 485482"/>
              <a:gd name="connsiteX157" fmla="*/ 481445 w 1213200"/>
              <a:gd name="connsiteY157" fmla="*/ 430306 h 485482"/>
              <a:gd name="connsiteX158" fmla="*/ 471946 w 1213200"/>
              <a:gd name="connsiteY158" fmla="*/ 430306 h 485482"/>
              <a:gd name="connsiteX159" fmla="*/ 471946 w 1213200"/>
              <a:gd name="connsiteY159" fmla="*/ 429107 h 485482"/>
              <a:gd name="connsiteX160" fmla="*/ 450572 w 1213200"/>
              <a:gd name="connsiteY160" fmla="*/ 411114 h 485482"/>
              <a:gd name="connsiteX161" fmla="*/ 430385 w 1213200"/>
              <a:gd name="connsiteY161" fmla="*/ 431505 h 485482"/>
              <a:gd name="connsiteX162" fmla="*/ 430385 w 1213200"/>
              <a:gd name="connsiteY162" fmla="*/ 456695 h 485482"/>
              <a:gd name="connsiteX163" fmla="*/ 450572 w 1213200"/>
              <a:gd name="connsiteY163" fmla="*/ 477086 h 485482"/>
              <a:gd name="connsiteX164" fmla="*/ 471946 w 1213200"/>
              <a:gd name="connsiteY164" fmla="*/ 459093 h 485482"/>
              <a:gd name="connsiteX165" fmla="*/ 481445 w 1213200"/>
              <a:gd name="connsiteY165" fmla="*/ 459093 h 485482"/>
              <a:gd name="connsiteX166" fmla="*/ 450572 w 1213200"/>
              <a:gd name="connsiteY166" fmla="*/ 485482 h 485482"/>
              <a:gd name="connsiteX167" fmla="*/ 420886 w 1213200"/>
              <a:gd name="connsiteY167" fmla="*/ 456695 h 485482"/>
              <a:gd name="connsiteX168" fmla="*/ 420886 w 1213200"/>
              <a:gd name="connsiteY168" fmla="*/ 431505 h 485482"/>
              <a:gd name="connsiteX169" fmla="*/ 450572 w 1213200"/>
              <a:gd name="connsiteY169" fmla="*/ 402718 h 485482"/>
              <a:gd name="connsiteX170" fmla="*/ 374364 w 1213200"/>
              <a:gd name="connsiteY170" fmla="*/ 402718 h 485482"/>
              <a:gd name="connsiteX171" fmla="*/ 403036 w 1213200"/>
              <a:gd name="connsiteY171" fmla="*/ 426708 h 485482"/>
              <a:gd name="connsiteX172" fmla="*/ 403036 w 1213200"/>
              <a:gd name="connsiteY172" fmla="*/ 427907 h 485482"/>
              <a:gd name="connsiteX173" fmla="*/ 393479 w 1213200"/>
              <a:gd name="connsiteY173" fmla="*/ 427907 h 485482"/>
              <a:gd name="connsiteX174" fmla="*/ 393479 w 1213200"/>
              <a:gd name="connsiteY174" fmla="*/ 426708 h 485482"/>
              <a:gd name="connsiteX175" fmla="*/ 374364 w 1213200"/>
              <a:gd name="connsiteY175" fmla="*/ 411114 h 485482"/>
              <a:gd name="connsiteX176" fmla="*/ 356443 w 1213200"/>
              <a:gd name="connsiteY176" fmla="*/ 424309 h 485482"/>
              <a:gd name="connsiteX177" fmla="*/ 368390 w 1213200"/>
              <a:gd name="connsiteY177" fmla="*/ 437503 h 485482"/>
              <a:gd name="connsiteX178" fmla="*/ 383921 w 1213200"/>
              <a:gd name="connsiteY178" fmla="*/ 441101 h 485482"/>
              <a:gd name="connsiteX179" fmla="*/ 404231 w 1213200"/>
              <a:gd name="connsiteY179" fmla="*/ 462692 h 485482"/>
              <a:gd name="connsiteX180" fmla="*/ 374364 w 1213200"/>
              <a:gd name="connsiteY180" fmla="*/ 485482 h 485482"/>
              <a:gd name="connsiteX181" fmla="*/ 345691 w 1213200"/>
              <a:gd name="connsiteY181" fmla="*/ 461492 h 485482"/>
              <a:gd name="connsiteX182" fmla="*/ 345691 w 1213200"/>
              <a:gd name="connsiteY182" fmla="*/ 460293 h 485482"/>
              <a:gd name="connsiteX183" fmla="*/ 355249 w 1213200"/>
              <a:gd name="connsiteY183" fmla="*/ 460293 h 485482"/>
              <a:gd name="connsiteX184" fmla="*/ 355249 w 1213200"/>
              <a:gd name="connsiteY184" fmla="*/ 461492 h 485482"/>
              <a:gd name="connsiteX185" fmla="*/ 374364 w 1213200"/>
              <a:gd name="connsiteY185" fmla="*/ 477086 h 485482"/>
              <a:gd name="connsiteX186" fmla="*/ 393479 w 1213200"/>
              <a:gd name="connsiteY186" fmla="*/ 462692 h 485482"/>
              <a:gd name="connsiteX187" fmla="*/ 381532 w 1213200"/>
              <a:gd name="connsiteY187" fmla="*/ 449498 h 485482"/>
              <a:gd name="connsiteX188" fmla="*/ 366001 w 1213200"/>
              <a:gd name="connsiteY188" fmla="*/ 447099 h 485482"/>
              <a:gd name="connsiteX189" fmla="*/ 346886 w 1213200"/>
              <a:gd name="connsiteY189" fmla="*/ 425508 h 485482"/>
              <a:gd name="connsiteX190" fmla="*/ 374364 w 1213200"/>
              <a:gd name="connsiteY190" fmla="*/ 402718 h 485482"/>
              <a:gd name="connsiteX191" fmla="*/ 221798 w 1213200"/>
              <a:gd name="connsiteY191" fmla="*/ 402718 h 485482"/>
              <a:gd name="connsiteX192" fmla="*/ 252834 w 1213200"/>
              <a:gd name="connsiteY192" fmla="*/ 431505 h 485482"/>
              <a:gd name="connsiteX193" fmla="*/ 252834 w 1213200"/>
              <a:gd name="connsiteY193" fmla="*/ 456695 h 485482"/>
              <a:gd name="connsiteX194" fmla="*/ 221798 w 1213200"/>
              <a:gd name="connsiteY194" fmla="*/ 485482 h 485482"/>
              <a:gd name="connsiteX195" fmla="*/ 190761 w 1213200"/>
              <a:gd name="connsiteY195" fmla="*/ 456695 h 485482"/>
              <a:gd name="connsiteX196" fmla="*/ 190761 w 1213200"/>
              <a:gd name="connsiteY196" fmla="*/ 431505 h 485482"/>
              <a:gd name="connsiteX197" fmla="*/ 221798 w 1213200"/>
              <a:gd name="connsiteY197" fmla="*/ 402718 h 485482"/>
              <a:gd name="connsiteX198" fmla="*/ 1049691 w 1213200"/>
              <a:gd name="connsiteY198" fmla="*/ 43905 h 485482"/>
              <a:gd name="connsiteX199" fmla="*/ 1049691 w 1213200"/>
              <a:gd name="connsiteY199" fmla="*/ 130202 h 485482"/>
              <a:gd name="connsiteX200" fmla="*/ 1114157 w 1213200"/>
              <a:gd name="connsiteY200" fmla="*/ 130202 h 485482"/>
              <a:gd name="connsiteX201" fmla="*/ 1160716 w 1213200"/>
              <a:gd name="connsiteY201" fmla="*/ 87054 h 485482"/>
              <a:gd name="connsiteX202" fmla="*/ 1114157 w 1213200"/>
              <a:gd name="connsiteY202" fmla="*/ 43905 h 485482"/>
              <a:gd name="connsiteX203" fmla="*/ 1049691 w 1213200"/>
              <a:gd name="connsiteY203" fmla="*/ 43905 h 485482"/>
              <a:gd name="connsiteX204" fmla="*/ 999729 w 1213200"/>
              <a:gd name="connsiteY204" fmla="*/ 0 h 485482"/>
              <a:gd name="connsiteX205" fmla="*/ 1115234 w 1213200"/>
              <a:gd name="connsiteY205" fmla="*/ 0 h 485482"/>
              <a:gd name="connsiteX206" fmla="*/ 1211686 w 1213200"/>
              <a:gd name="connsiteY206" fmla="*/ 87253 h 485482"/>
              <a:gd name="connsiteX207" fmla="*/ 1115234 w 1213200"/>
              <a:gd name="connsiteY207" fmla="*/ 173311 h 485482"/>
              <a:gd name="connsiteX208" fmla="*/ 1049741 w 1213200"/>
              <a:gd name="connsiteY208" fmla="*/ 173311 h 485482"/>
              <a:gd name="connsiteX209" fmla="*/ 1049741 w 1213200"/>
              <a:gd name="connsiteY209" fmla="*/ 295226 h 485482"/>
              <a:gd name="connsiteX210" fmla="*/ 999729 w 1213200"/>
              <a:gd name="connsiteY210" fmla="*/ 295226 h 485482"/>
              <a:gd name="connsiteX211" fmla="*/ 999729 w 1213200"/>
              <a:gd name="connsiteY211" fmla="*/ 0 h 485482"/>
              <a:gd name="connsiteX212" fmla="*/ 717625 w 1213200"/>
              <a:gd name="connsiteY212" fmla="*/ 0 h 485482"/>
              <a:gd name="connsiteX213" fmla="*/ 767586 w 1213200"/>
              <a:gd name="connsiteY213" fmla="*/ 0 h 485482"/>
              <a:gd name="connsiteX214" fmla="*/ 767586 w 1213200"/>
              <a:gd name="connsiteY214" fmla="*/ 129193 h 485482"/>
              <a:gd name="connsiteX215" fmla="*/ 893751 w 1213200"/>
              <a:gd name="connsiteY215" fmla="*/ 129193 h 485482"/>
              <a:gd name="connsiteX216" fmla="*/ 893751 w 1213200"/>
              <a:gd name="connsiteY216" fmla="*/ 0 h 485482"/>
              <a:gd name="connsiteX217" fmla="*/ 943712 w 1213200"/>
              <a:gd name="connsiteY217" fmla="*/ 0 h 485482"/>
              <a:gd name="connsiteX218" fmla="*/ 943712 w 1213200"/>
              <a:gd name="connsiteY218" fmla="*/ 295226 h 485482"/>
              <a:gd name="connsiteX219" fmla="*/ 893751 w 1213200"/>
              <a:gd name="connsiteY219" fmla="*/ 295226 h 485482"/>
              <a:gd name="connsiteX220" fmla="*/ 893751 w 1213200"/>
              <a:gd name="connsiteY220" fmla="*/ 173098 h 485482"/>
              <a:gd name="connsiteX221" fmla="*/ 767586 w 1213200"/>
              <a:gd name="connsiteY221" fmla="*/ 173098 h 485482"/>
              <a:gd name="connsiteX222" fmla="*/ 767586 w 1213200"/>
              <a:gd name="connsiteY222" fmla="*/ 295226 h 485482"/>
              <a:gd name="connsiteX223" fmla="*/ 717625 w 1213200"/>
              <a:gd name="connsiteY223" fmla="*/ 295226 h 485482"/>
              <a:gd name="connsiteX224" fmla="*/ 401708 w 1213200"/>
              <a:gd name="connsiteY224" fmla="*/ 0 h 485482"/>
              <a:gd name="connsiteX225" fmla="*/ 448137 w 1213200"/>
              <a:gd name="connsiteY225" fmla="*/ 0 h 485482"/>
              <a:gd name="connsiteX226" fmla="*/ 531405 w 1213200"/>
              <a:gd name="connsiteY226" fmla="*/ 135249 h 485482"/>
              <a:gd name="connsiteX227" fmla="*/ 616188 w 1213200"/>
              <a:gd name="connsiteY227" fmla="*/ 0 h 485482"/>
              <a:gd name="connsiteX228" fmla="*/ 661607 w 1213200"/>
              <a:gd name="connsiteY228" fmla="*/ 0 h 485482"/>
              <a:gd name="connsiteX229" fmla="*/ 661607 w 1213200"/>
              <a:gd name="connsiteY229" fmla="*/ 295226 h 485482"/>
              <a:gd name="connsiteX230" fmla="*/ 612655 w 1213200"/>
              <a:gd name="connsiteY230" fmla="*/ 295226 h 485482"/>
              <a:gd name="connsiteX231" fmla="*/ 612655 w 1213200"/>
              <a:gd name="connsiteY231" fmla="*/ 93362 h 485482"/>
              <a:gd name="connsiteX232" fmla="*/ 531405 w 1213200"/>
              <a:gd name="connsiteY232" fmla="*/ 221041 h 485482"/>
              <a:gd name="connsiteX233" fmla="*/ 451669 w 1213200"/>
              <a:gd name="connsiteY233" fmla="*/ 93362 h 485482"/>
              <a:gd name="connsiteX234" fmla="*/ 451669 w 1213200"/>
              <a:gd name="connsiteY234" fmla="*/ 295226 h 485482"/>
              <a:gd name="connsiteX235" fmla="*/ 401708 w 1213200"/>
              <a:gd name="connsiteY235" fmla="*/ 295226 h 485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1213200" h="485482">
                <a:moveTo>
                  <a:pt x="1022440" y="413820"/>
                </a:moveTo>
                <a:lnTo>
                  <a:pt x="1006795" y="455707"/>
                </a:lnTo>
                <a:lnTo>
                  <a:pt x="1038084" y="455707"/>
                </a:lnTo>
                <a:close/>
                <a:moveTo>
                  <a:pt x="35830" y="413820"/>
                </a:moveTo>
                <a:lnTo>
                  <a:pt x="20186" y="455707"/>
                </a:lnTo>
                <a:lnTo>
                  <a:pt x="51475" y="455707"/>
                </a:lnTo>
                <a:close/>
                <a:moveTo>
                  <a:pt x="942703" y="412306"/>
                </a:moveTo>
                <a:lnTo>
                  <a:pt x="942703" y="446118"/>
                </a:lnTo>
                <a:cubicBezTo>
                  <a:pt x="962906" y="446118"/>
                  <a:pt x="962906" y="446118"/>
                  <a:pt x="962906" y="446118"/>
                </a:cubicBezTo>
                <a:cubicBezTo>
                  <a:pt x="972413" y="446118"/>
                  <a:pt x="979543" y="441288"/>
                  <a:pt x="979543" y="429212"/>
                </a:cubicBezTo>
                <a:cubicBezTo>
                  <a:pt x="979543" y="417136"/>
                  <a:pt x="972413" y="412306"/>
                  <a:pt x="962906" y="412306"/>
                </a:cubicBezTo>
                <a:cubicBezTo>
                  <a:pt x="942703" y="412306"/>
                  <a:pt x="942703" y="412306"/>
                  <a:pt x="942703" y="412306"/>
                </a:cubicBezTo>
                <a:close/>
                <a:moveTo>
                  <a:pt x="281095" y="412306"/>
                </a:moveTo>
                <a:lnTo>
                  <a:pt x="281095" y="446118"/>
                </a:lnTo>
                <a:cubicBezTo>
                  <a:pt x="302669" y="446118"/>
                  <a:pt x="302669" y="446118"/>
                  <a:pt x="302669" y="446118"/>
                </a:cubicBezTo>
                <a:cubicBezTo>
                  <a:pt x="312258" y="446118"/>
                  <a:pt x="319449" y="441288"/>
                  <a:pt x="319449" y="429212"/>
                </a:cubicBezTo>
                <a:cubicBezTo>
                  <a:pt x="319449" y="417136"/>
                  <a:pt x="312258" y="412306"/>
                  <a:pt x="302669" y="412306"/>
                </a:cubicBezTo>
                <a:cubicBezTo>
                  <a:pt x="281095" y="412306"/>
                  <a:pt x="281095" y="412306"/>
                  <a:pt x="281095" y="412306"/>
                </a:cubicBezTo>
                <a:close/>
                <a:moveTo>
                  <a:pt x="132221" y="412306"/>
                </a:moveTo>
                <a:lnTo>
                  <a:pt x="132221" y="446118"/>
                </a:lnTo>
                <a:cubicBezTo>
                  <a:pt x="152525" y="446118"/>
                  <a:pt x="152525" y="446118"/>
                  <a:pt x="152525" y="446118"/>
                </a:cubicBezTo>
                <a:cubicBezTo>
                  <a:pt x="162080" y="446118"/>
                  <a:pt x="168052" y="441288"/>
                  <a:pt x="168052" y="429212"/>
                </a:cubicBezTo>
                <a:cubicBezTo>
                  <a:pt x="168052" y="417136"/>
                  <a:pt x="162080" y="412306"/>
                  <a:pt x="152525" y="412306"/>
                </a:cubicBezTo>
                <a:cubicBezTo>
                  <a:pt x="132221" y="412306"/>
                  <a:pt x="132221" y="412306"/>
                  <a:pt x="132221" y="412306"/>
                </a:cubicBezTo>
                <a:close/>
                <a:moveTo>
                  <a:pt x="793576" y="411297"/>
                </a:moveTo>
                <a:cubicBezTo>
                  <a:pt x="780469" y="411297"/>
                  <a:pt x="772128" y="418454"/>
                  <a:pt x="772128" y="431575"/>
                </a:cubicBezTo>
                <a:cubicBezTo>
                  <a:pt x="772128" y="456625"/>
                  <a:pt x="772128" y="456625"/>
                  <a:pt x="772128" y="456625"/>
                </a:cubicBezTo>
                <a:cubicBezTo>
                  <a:pt x="772128" y="469746"/>
                  <a:pt x="780469" y="476903"/>
                  <a:pt x="793576" y="476903"/>
                </a:cubicBezTo>
                <a:cubicBezTo>
                  <a:pt x="807875" y="476903"/>
                  <a:pt x="815024" y="469746"/>
                  <a:pt x="815024" y="456625"/>
                </a:cubicBezTo>
                <a:lnTo>
                  <a:pt x="815024" y="431575"/>
                </a:lnTo>
                <a:cubicBezTo>
                  <a:pt x="815024" y="418454"/>
                  <a:pt x="807875" y="411297"/>
                  <a:pt x="793576" y="411297"/>
                </a:cubicBezTo>
                <a:close/>
                <a:moveTo>
                  <a:pt x="221798" y="411297"/>
                </a:moveTo>
                <a:cubicBezTo>
                  <a:pt x="207499" y="411297"/>
                  <a:pt x="200350" y="418454"/>
                  <a:pt x="200350" y="431575"/>
                </a:cubicBezTo>
                <a:cubicBezTo>
                  <a:pt x="200350" y="456625"/>
                  <a:pt x="200350" y="456625"/>
                  <a:pt x="200350" y="456625"/>
                </a:cubicBezTo>
                <a:cubicBezTo>
                  <a:pt x="200350" y="469746"/>
                  <a:pt x="207499" y="476903"/>
                  <a:pt x="221798" y="476903"/>
                </a:cubicBezTo>
                <a:cubicBezTo>
                  <a:pt x="234905" y="476903"/>
                  <a:pt x="243246" y="469746"/>
                  <a:pt x="243246" y="456625"/>
                </a:cubicBezTo>
                <a:lnTo>
                  <a:pt x="243246" y="431575"/>
                </a:lnTo>
                <a:cubicBezTo>
                  <a:pt x="243246" y="418454"/>
                  <a:pt x="234905" y="411297"/>
                  <a:pt x="221798" y="411297"/>
                </a:cubicBezTo>
                <a:close/>
                <a:moveTo>
                  <a:pt x="1144062" y="404232"/>
                </a:moveTo>
                <a:lnTo>
                  <a:pt x="1154660" y="404232"/>
                </a:lnTo>
                <a:lnTo>
                  <a:pt x="1178379" y="443596"/>
                </a:lnTo>
                <a:lnTo>
                  <a:pt x="1201088" y="404232"/>
                </a:lnTo>
                <a:lnTo>
                  <a:pt x="1213200" y="404232"/>
                </a:lnTo>
                <a:lnTo>
                  <a:pt x="1183425" y="453184"/>
                </a:lnTo>
                <a:lnTo>
                  <a:pt x="1183425" y="484473"/>
                </a:lnTo>
                <a:lnTo>
                  <a:pt x="1173837" y="484473"/>
                </a:lnTo>
                <a:lnTo>
                  <a:pt x="1173837" y="453184"/>
                </a:lnTo>
                <a:close/>
                <a:moveTo>
                  <a:pt x="1071391" y="404232"/>
                </a:moveTo>
                <a:lnTo>
                  <a:pt x="1079466" y="404232"/>
                </a:lnTo>
                <a:lnTo>
                  <a:pt x="1121352" y="467315"/>
                </a:lnTo>
                <a:lnTo>
                  <a:pt x="1121352" y="404232"/>
                </a:lnTo>
                <a:lnTo>
                  <a:pt x="1130941" y="404232"/>
                </a:lnTo>
                <a:lnTo>
                  <a:pt x="1130941" y="484473"/>
                </a:lnTo>
                <a:lnTo>
                  <a:pt x="1122362" y="484473"/>
                </a:lnTo>
                <a:lnTo>
                  <a:pt x="1080980" y="420886"/>
                </a:lnTo>
                <a:lnTo>
                  <a:pt x="1080980" y="484473"/>
                </a:lnTo>
                <a:lnTo>
                  <a:pt x="1071391" y="484473"/>
                </a:lnTo>
                <a:close/>
                <a:moveTo>
                  <a:pt x="1017392" y="404232"/>
                </a:moveTo>
                <a:lnTo>
                  <a:pt x="1029504" y="404232"/>
                </a:lnTo>
                <a:lnTo>
                  <a:pt x="1058269" y="484473"/>
                </a:lnTo>
                <a:lnTo>
                  <a:pt x="1048681" y="484473"/>
                </a:lnTo>
                <a:lnTo>
                  <a:pt x="1040101" y="463782"/>
                </a:lnTo>
                <a:lnTo>
                  <a:pt x="1004271" y="463782"/>
                </a:lnTo>
                <a:lnTo>
                  <a:pt x="997205" y="484473"/>
                </a:lnTo>
                <a:lnTo>
                  <a:pt x="987617" y="484473"/>
                </a:lnTo>
                <a:close/>
                <a:moveTo>
                  <a:pt x="933114" y="404232"/>
                </a:moveTo>
                <a:cubicBezTo>
                  <a:pt x="962910" y="404232"/>
                  <a:pt x="962910" y="404232"/>
                  <a:pt x="962910" y="404232"/>
                </a:cubicBezTo>
                <a:cubicBezTo>
                  <a:pt x="978404" y="404232"/>
                  <a:pt x="989131" y="411418"/>
                  <a:pt x="989131" y="429382"/>
                </a:cubicBezTo>
                <a:cubicBezTo>
                  <a:pt x="989131" y="446149"/>
                  <a:pt x="978404" y="454532"/>
                  <a:pt x="962910" y="454532"/>
                </a:cubicBezTo>
                <a:cubicBezTo>
                  <a:pt x="942649" y="454532"/>
                  <a:pt x="942649" y="454532"/>
                  <a:pt x="942649" y="454532"/>
                </a:cubicBezTo>
                <a:cubicBezTo>
                  <a:pt x="942649" y="484473"/>
                  <a:pt x="942649" y="484473"/>
                  <a:pt x="942649" y="484473"/>
                </a:cubicBezTo>
                <a:cubicBezTo>
                  <a:pt x="933114" y="484473"/>
                  <a:pt x="933114" y="484473"/>
                  <a:pt x="933114" y="484473"/>
                </a:cubicBezTo>
                <a:close/>
                <a:moveTo>
                  <a:pt x="843790" y="404232"/>
                </a:moveTo>
                <a:lnTo>
                  <a:pt x="853378" y="404232"/>
                </a:lnTo>
                <a:lnTo>
                  <a:pt x="878107" y="452175"/>
                </a:lnTo>
                <a:lnTo>
                  <a:pt x="903340" y="404232"/>
                </a:lnTo>
                <a:lnTo>
                  <a:pt x="912928" y="404232"/>
                </a:lnTo>
                <a:lnTo>
                  <a:pt x="912928" y="484473"/>
                </a:lnTo>
                <a:lnTo>
                  <a:pt x="903340" y="484473"/>
                </a:lnTo>
                <a:lnTo>
                  <a:pt x="903340" y="423409"/>
                </a:lnTo>
                <a:lnTo>
                  <a:pt x="878107" y="469838"/>
                </a:lnTo>
                <a:lnTo>
                  <a:pt x="853378" y="423409"/>
                </a:lnTo>
                <a:lnTo>
                  <a:pt x="853378" y="484473"/>
                </a:lnTo>
                <a:lnTo>
                  <a:pt x="843790" y="484473"/>
                </a:lnTo>
                <a:close/>
                <a:moveTo>
                  <a:pt x="579348" y="404232"/>
                </a:moveTo>
                <a:lnTo>
                  <a:pt x="630319" y="404232"/>
                </a:lnTo>
                <a:lnTo>
                  <a:pt x="630319" y="412307"/>
                </a:lnTo>
                <a:lnTo>
                  <a:pt x="588937" y="412307"/>
                </a:lnTo>
                <a:lnTo>
                  <a:pt x="588937" y="440063"/>
                </a:lnTo>
                <a:lnTo>
                  <a:pt x="625777" y="440063"/>
                </a:lnTo>
                <a:lnTo>
                  <a:pt x="625777" y="448642"/>
                </a:lnTo>
                <a:lnTo>
                  <a:pt x="588937" y="448642"/>
                </a:lnTo>
                <a:lnTo>
                  <a:pt x="588937" y="475894"/>
                </a:lnTo>
                <a:lnTo>
                  <a:pt x="630319" y="475894"/>
                </a:lnTo>
                <a:lnTo>
                  <a:pt x="630319" y="484473"/>
                </a:lnTo>
                <a:lnTo>
                  <a:pt x="579348" y="484473"/>
                </a:lnTo>
                <a:close/>
                <a:moveTo>
                  <a:pt x="499108" y="404232"/>
                </a:moveTo>
                <a:lnTo>
                  <a:pt x="508696" y="404232"/>
                </a:lnTo>
                <a:lnTo>
                  <a:pt x="508696" y="440063"/>
                </a:lnTo>
                <a:lnTo>
                  <a:pt x="549574" y="440063"/>
                </a:lnTo>
                <a:lnTo>
                  <a:pt x="549574" y="404232"/>
                </a:lnTo>
                <a:lnTo>
                  <a:pt x="559162" y="404232"/>
                </a:lnTo>
                <a:lnTo>
                  <a:pt x="559162" y="484473"/>
                </a:lnTo>
                <a:lnTo>
                  <a:pt x="549574" y="484473"/>
                </a:lnTo>
                <a:lnTo>
                  <a:pt x="549574" y="448642"/>
                </a:lnTo>
                <a:lnTo>
                  <a:pt x="508696" y="448642"/>
                </a:lnTo>
                <a:lnTo>
                  <a:pt x="508696" y="484473"/>
                </a:lnTo>
                <a:lnTo>
                  <a:pt x="499108" y="484473"/>
                </a:lnTo>
                <a:close/>
                <a:moveTo>
                  <a:pt x="272011" y="404232"/>
                </a:moveTo>
                <a:cubicBezTo>
                  <a:pt x="302900" y="404232"/>
                  <a:pt x="302900" y="404232"/>
                  <a:pt x="302900" y="404232"/>
                </a:cubicBezTo>
                <a:cubicBezTo>
                  <a:pt x="318345" y="404232"/>
                  <a:pt x="329037" y="411418"/>
                  <a:pt x="329037" y="429382"/>
                </a:cubicBezTo>
                <a:cubicBezTo>
                  <a:pt x="329037" y="442556"/>
                  <a:pt x="323097" y="449742"/>
                  <a:pt x="313592" y="452137"/>
                </a:cubicBezTo>
                <a:cubicBezTo>
                  <a:pt x="329037" y="484473"/>
                  <a:pt x="329037" y="484473"/>
                  <a:pt x="329037" y="484473"/>
                </a:cubicBezTo>
                <a:cubicBezTo>
                  <a:pt x="318345" y="484473"/>
                  <a:pt x="318345" y="484473"/>
                  <a:pt x="318345" y="484473"/>
                </a:cubicBezTo>
                <a:cubicBezTo>
                  <a:pt x="304088" y="454532"/>
                  <a:pt x="304088" y="454532"/>
                  <a:pt x="304088" y="454532"/>
                </a:cubicBezTo>
                <a:cubicBezTo>
                  <a:pt x="281515" y="454532"/>
                  <a:pt x="281515" y="454532"/>
                  <a:pt x="281515" y="454532"/>
                </a:cubicBezTo>
                <a:cubicBezTo>
                  <a:pt x="281515" y="484473"/>
                  <a:pt x="281515" y="484473"/>
                  <a:pt x="281515" y="484473"/>
                </a:cubicBezTo>
                <a:cubicBezTo>
                  <a:pt x="272011" y="484473"/>
                  <a:pt x="272011" y="484473"/>
                  <a:pt x="272011" y="484473"/>
                </a:cubicBezTo>
                <a:close/>
                <a:moveTo>
                  <a:pt x="122632" y="404232"/>
                </a:moveTo>
                <a:cubicBezTo>
                  <a:pt x="152428" y="404232"/>
                  <a:pt x="152428" y="404232"/>
                  <a:pt x="152428" y="404232"/>
                </a:cubicBezTo>
                <a:cubicBezTo>
                  <a:pt x="167922" y="404232"/>
                  <a:pt x="178649" y="411418"/>
                  <a:pt x="178649" y="429382"/>
                </a:cubicBezTo>
                <a:cubicBezTo>
                  <a:pt x="178649" y="446149"/>
                  <a:pt x="167922" y="454532"/>
                  <a:pt x="152428" y="454532"/>
                </a:cubicBezTo>
                <a:cubicBezTo>
                  <a:pt x="132167" y="454532"/>
                  <a:pt x="132167" y="454532"/>
                  <a:pt x="132167" y="454532"/>
                </a:cubicBezTo>
                <a:cubicBezTo>
                  <a:pt x="132167" y="484473"/>
                  <a:pt x="132167" y="484473"/>
                  <a:pt x="132167" y="484473"/>
                </a:cubicBezTo>
                <a:cubicBezTo>
                  <a:pt x="122632" y="484473"/>
                  <a:pt x="122632" y="484473"/>
                  <a:pt x="122632" y="484473"/>
                </a:cubicBezTo>
                <a:close/>
                <a:moveTo>
                  <a:pt x="29775" y="404232"/>
                </a:moveTo>
                <a:lnTo>
                  <a:pt x="41887" y="404232"/>
                </a:lnTo>
                <a:lnTo>
                  <a:pt x="71662" y="484473"/>
                </a:lnTo>
                <a:lnTo>
                  <a:pt x="61064" y="484473"/>
                </a:lnTo>
                <a:lnTo>
                  <a:pt x="53999" y="463782"/>
                </a:lnTo>
                <a:lnTo>
                  <a:pt x="18168" y="463782"/>
                </a:lnTo>
                <a:lnTo>
                  <a:pt x="9589" y="484473"/>
                </a:lnTo>
                <a:lnTo>
                  <a:pt x="0" y="484473"/>
                </a:lnTo>
                <a:close/>
                <a:moveTo>
                  <a:pt x="793576" y="402718"/>
                </a:moveTo>
                <a:cubicBezTo>
                  <a:pt x="812676" y="402718"/>
                  <a:pt x="824613" y="413513"/>
                  <a:pt x="824613" y="431505"/>
                </a:cubicBezTo>
                <a:lnTo>
                  <a:pt x="824613" y="456695"/>
                </a:lnTo>
                <a:cubicBezTo>
                  <a:pt x="824613" y="474687"/>
                  <a:pt x="812676" y="485482"/>
                  <a:pt x="793576" y="485482"/>
                </a:cubicBezTo>
                <a:cubicBezTo>
                  <a:pt x="774477" y="485482"/>
                  <a:pt x="762540" y="474687"/>
                  <a:pt x="762540" y="456695"/>
                </a:cubicBezTo>
                <a:cubicBezTo>
                  <a:pt x="762540" y="431505"/>
                  <a:pt x="762540" y="431505"/>
                  <a:pt x="762540" y="431505"/>
                </a:cubicBezTo>
                <a:cubicBezTo>
                  <a:pt x="762540" y="413513"/>
                  <a:pt x="774477" y="402718"/>
                  <a:pt x="793576" y="402718"/>
                </a:cubicBezTo>
                <a:close/>
                <a:moveTo>
                  <a:pt x="718476" y="402718"/>
                </a:moveTo>
                <a:cubicBezTo>
                  <a:pt x="736436" y="402718"/>
                  <a:pt x="748409" y="412314"/>
                  <a:pt x="748409" y="429107"/>
                </a:cubicBezTo>
                <a:cubicBezTo>
                  <a:pt x="748409" y="430306"/>
                  <a:pt x="748409" y="430306"/>
                  <a:pt x="748409" y="430306"/>
                </a:cubicBezTo>
                <a:cubicBezTo>
                  <a:pt x="738830" y="430306"/>
                  <a:pt x="738830" y="430306"/>
                  <a:pt x="738830" y="430306"/>
                </a:cubicBezTo>
                <a:cubicBezTo>
                  <a:pt x="738830" y="429107"/>
                  <a:pt x="738830" y="429107"/>
                  <a:pt x="738830" y="429107"/>
                </a:cubicBezTo>
                <a:cubicBezTo>
                  <a:pt x="738830" y="418311"/>
                  <a:pt x="730449" y="411114"/>
                  <a:pt x="718476" y="411114"/>
                </a:cubicBezTo>
                <a:cubicBezTo>
                  <a:pt x="704108" y="411114"/>
                  <a:pt x="696924" y="418311"/>
                  <a:pt x="696924" y="431505"/>
                </a:cubicBezTo>
                <a:cubicBezTo>
                  <a:pt x="696924" y="456695"/>
                  <a:pt x="696924" y="456695"/>
                  <a:pt x="696924" y="456695"/>
                </a:cubicBezTo>
                <a:cubicBezTo>
                  <a:pt x="696924" y="469889"/>
                  <a:pt x="704108" y="477086"/>
                  <a:pt x="718476" y="477086"/>
                </a:cubicBezTo>
                <a:cubicBezTo>
                  <a:pt x="730449" y="477086"/>
                  <a:pt x="738830" y="471088"/>
                  <a:pt x="738830" y="459093"/>
                </a:cubicBezTo>
                <a:lnTo>
                  <a:pt x="748409" y="459093"/>
                </a:lnTo>
                <a:cubicBezTo>
                  <a:pt x="748409" y="475886"/>
                  <a:pt x="736436" y="485482"/>
                  <a:pt x="718476" y="485482"/>
                </a:cubicBezTo>
                <a:cubicBezTo>
                  <a:pt x="699318" y="485482"/>
                  <a:pt x="687345" y="474687"/>
                  <a:pt x="687345" y="456695"/>
                </a:cubicBezTo>
                <a:cubicBezTo>
                  <a:pt x="687345" y="431505"/>
                  <a:pt x="687345" y="431505"/>
                  <a:pt x="687345" y="431505"/>
                </a:cubicBezTo>
                <a:cubicBezTo>
                  <a:pt x="687345" y="413513"/>
                  <a:pt x="699318" y="402718"/>
                  <a:pt x="718476" y="402718"/>
                </a:cubicBezTo>
                <a:close/>
                <a:moveTo>
                  <a:pt x="450572" y="402718"/>
                </a:moveTo>
                <a:cubicBezTo>
                  <a:pt x="469571" y="402718"/>
                  <a:pt x="481445" y="412314"/>
                  <a:pt x="481445" y="429107"/>
                </a:cubicBezTo>
                <a:cubicBezTo>
                  <a:pt x="481445" y="430306"/>
                  <a:pt x="481445" y="430306"/>
                  <a:pt x="481445" y="430306"/>
                </a:cubicBezTo>
                <a:cubicBezTo>
                  <a:pt x="471946" y="430306"/>
                  <a:pt x="471946" y="430306"/>
                  <a:pt x="471946" y="430306"/>
                </a:cubicBezTo>
                <a:cubicBezTo>
                  <a:pt x="471946" y="429107"/>
                  <a:pt x="471946" y="429107"/>
                  <a:pt x="471946" y="429107"/>
                </a:cubicBezTo>
                <a:cubicBezTo>
                  <a:pt x="471946" y="418311"/>
                  <a:pt x="463634" y="411114"/>
                  <a:pt x="450572" y="411114"/>
                </a:cubicBezTo>
                <a:cubicBezTo>
                  <a:pt x="437510" y="411114"/>
                  <a:pt x="430385" y="418311"/>
                  <a:pt x="430385" y="431505"/>
                </a:cubicBezTo>
                <a:cubicBezTo>
                  <a:pt x="430385" y="456695"/>
                  <a:pt x="430385" y="456695"/>
                  <a:pt x="430385" y="456695"/>
                </a:cubicBezTo>
                <a:cubicBezTo>
                  <a:pt x="430385" y="469889"/>
                  <a:pt x="437510" y="477086"/>
                  <a:pt x="450572" y="477086"/>
                </a:cubicBezTo>
                <a:cubicBezTo>
                  <a:pt x="463634" y="477086"/>
                  <a:pt x="471946" y="471088"/>
                  <a:pt x="471946" y="459093"/>
                </a:cubicBezTo>
                <a:lnTo>
                  <a:pt x="481445" y="459093"/>
                </a:lnTo>
                <a:cubicBezTo>
                  <a:pt x="481445" y="475886"/>
                  <a:pt x="469571" y="485482"/>
                  <a:pt x="450572" y="485482"/>
                </a:cubicBezTo>
                <a:cubicBezTo>
                  <a:pt x="431573" y="485482"/>
                  <a:pt x="420886" y="474687"/>
                  <a:pt x="420886" y="456695"/>
                </a:cubicBezTo>
                <a:cubicBezTo>
                  <a:pt x="420886" y="431505"/>
                  <a:pt x="420886" y="431505"/>
                  <a:pt x="420886" y="431505"/>
                </a:cubicBezTo>
                <a:cubicBezTo>
                  <a:pt x="420886" y="413513"/>
                  <a:pt x="431573" y="402718"/>
                  <a:pt x="450572" y="402718"/>
                </a:cubicBezTo>
                <a:close/>
                <a:moveTo>
                  <a:pt x="374364" y="402718"/>
                </a:moveTo>
                <a:cubicBezTo>
                  <a:pt x="393479" y="402718"/>
                  <a:pt x="403036" y="411114"/>
                  <a:pt x="403036" y="426708"/>
                </a:cubicBezTo>
                <a:cubicBezTo>
                  <a:pt x="403036" y="427907"/>
                  <a:pt x="403036" y="427907"/>
                  <a:pt x="403036" y="427907"/>
                </a:cubicBezTo>
                <a:cubicBezTo>
                  <a:pt x="393479" y="427907"/>
                  <a:pt x="393479" y="427907"/>
                  <a:pt x="393479" y="427907"/>
                </a:cubicBezTo>
                <a:cubicBezTo>
                  <a:pt x="393479" y="426708"/>
                  <a:pt x="393479" y="426708"/>
                  <a:pt x="393479" y="426708"/>
                </a:cubicBezTo>
                <a:cubicBezTo>
                  <a:pt x="393479" y="415912"/>
                  <a:pt x="387505" y="411114"/>
                  <a:pt x="374364" y="411114"/>
                </a:cubicBezTo>
                <a:cubicBezTo>
                  <a:pt x="362417" y="411114"/>
                  <a:pt x="356443" y="415912"/>
                  <a:pt x="356443" y="424309"/>
                </a:cubicBezTo>
                <a:cubicBezTo>
                  <a:pt x="356443" y="432705"/>
                  <a:pt x="361222" y="436303"/>
                  <a:pt x="368390" y="437503"/>
                </a:cubicBezTo>
                <a:cubicBezTo>
                  <a:pt x="383921" y="441101"/>
                  <a:pt x="383921" y="441101"/>
                  <a:pt x="383921" y="441101"/>
                </a:cubicBezTo>
                <a:cubicBezTo>
                  <a:pt x="397063" y="443500"/>
                  <a:pt x="404231" y="450697"/>
                  <a:pt x="404231" y="462692"/>
                </a:cubicBezTo>
                <a:cubicBezTo>
                  <a:pt x="404231" y="478285"/>
                  <a:pt x="393479" y="485482"/>
                  <a:pt x="374364" y="485482"/>
                </a:cubicBezTo>
                <a:cubicBezTo>
                  <a:pt x="356443" y="485482"/>
                  <a:pt x="345691" y="477086"/>
                  <a:pt x="345691" y="461492"/>
                </a:cubicBezTo>
                <a:cubicBezTo>
                  <a:pt x="345691" y="460293"/>
                  <a:pt x="345691" y="460293"/>
                  <a:pt x="345691" y="460293"/>
                </a:cubicBezTo>
                <a:cubicBezTo>
                  <a:pt x="355249" y="460293"/>
                  <a:pt x="355249" y="460293"/>
                  <a:pt x="355249" y="460293"/>
                </a:cubicBezTo>
                <a:cubicBezTo>
                  <a:pt x="355249" y="461492"/>
                  <a:pt x="355249" y="461492"/>
                  <a:pt x="355249" y="461492"/>
                </a:cubicBezTo>
                <a:cubicBezTo>
                  <a:pt x="355249" y="472288"/>
                  <a:pt x="362417" y="477086"/>
                  <a:pt x="374364" y="477086"/>
                </a:cubicBezTo>
                <a:cubicBezTo>
                  <a:pt x="387505" y="477086"/>
                  <a:pt x="393479" y="472288"/>
                  <a:pt x="393479" y="462692"/>
                </a:cubicBezTo>
                <a:cubicBezTo>
                  <a:pt x="393479" y="455495"/>
                  <a:pt x="388700" y="450697"/>
                  <a:pt x="381532" y="449498"/>
                </a:cubicBezTo>
                <a:cubicBezTo>
                  <a:pt x="366001" y="447099"/>
                  <a:pt x="366001" y="447099"/>
                  <a:pt x="366001" y="447099"/>
                </a:cubicBezTo>
                <a:cubicBezTo>
                  <a:pt x="354054" y="444700"/>
                  <a:pt x="346886" y="437503"/>
                  <a:pt x="346886" y="425508"/>
                </a:cubicBezTo>
                <a:cubicBezTo>
                  <a:pt x="346886" y="411114"/>
                  <a:pt x="356443" y="402718"/>
                  <a:pt x="374364" y="402718"/>
                </a:cubicBezTo>
                <a:close/>
                <a:moveTo>
                  <a:pt x="221798" y="402718"/>
                </a:moveTo>
                <a:cubicBezTo>
                  <a:pt x="240897" y="402718"/>
                  <a:pt x="252834" y="413513"/>
                  <a:pt x="252834" y="431505"/>
                </a:cubicBezTo>
                <a:lnTo>
                  <a:pt x="252834" y="456695"/>
                </a:lnTo>
                <a:cubicBezTo>
                  <a:pt x="252834" y="474687"/>
                  <a:pt x="240897" y="485482"/>
                  <a:pt x="221798" y="485482"/>
                </a:cubicBezTo>
                <a:cubicBezTo>
                  <a:pt x="202698" y="485482"/>
                  <a:pt x="190761" y="474687"/>
                  <a:pt x="190761" y="456695"/>
                </a:cubicBezTo>
                <a:cubicBezTo>
                  <a:pt x="190761" y="431505"/>
                  <a:pt x="190761" y="431505"/>
                  <a:pt x="190761" y="431505"/>
                </a:cubicBezTo>
                <a:cubicBezTo>
                  <a:pt x="190761" y="413513"/>
                  <a:pt x="202698" y="402718"/>
                  <a:pt x="221798" y="402718"/>
                </a:cubicBezTo>
                <a:close/>
                <a:moveTo>
                  <a:pt x="1049691" y="43905"/>
                </a:moveTo>
                <a:cubicBezTo>
                  <a:pt x="1049691" y="43905"/>
                  <a:pt x="1049691" y="43905"/>
                  <a:pt x="1049691" y="130202"/>
                </a:cubicBezTo>
                <a:cubicBezTo>
                  <a:pt x="1049691" y="130202"/>
                  <a:pt x="1049691" y="130202"/>
                  <a:pt x="1114157" y="130202"/>
                </a:cubicBezTo>
                <a:cubicBezTo>
                  <a:pt x="1147584" y="130202"/>
                  <a:pt x="1160716" y="115819"/>
                  <a:pt x="1160716" y="87054"/>
                </a:cubicBezTo>
                <a:cubicBezTo>
                  <a:pt x="1160716" y="55891"/>
                  <a:pt x="1147584" y="43905"/>
                  <a:pt x="1114157" y="43905"/>
                </a:cubicBezTo>
                <a:cubicBezTo>
                  <a:pt x="1114157" y="43905"/>
                  <a:pt x="1114157" y="43905"/>
                  <a:pt x="1049691" y="43905"/>
                </a:cubicBezTo>
                <a:close/>
                <a:moveTo>
                  <a:pt x="999729" y="0"/>
                </a:moveTo>
                <a:cubicBezTo>
                  <a:pt x="999729" y="0"/>
                  <a:pt x="999729" y="0"/>
                  <a:pt x="1115234" y="0"/>
                </a:cubicBezTo>
                <a:cubicBezTo>
                  <a:pt x="1173581" y="0"/>
                  <a:pt x="1211686" y="23905"/>
                  <a:pt x="1211686" y="87253"/>
                </a:cubicBezTo>
                <a:cubicBezTo>
                  <a:pt x="1211686" y="145820"/>
                  <a:pt x="1174772" y="173311"/>
                  <a:pt x="1115234" y="173311"/>
                </a:cubicBezTo>
                <a:cubicBezTo>
                  <a:pt x="1115234" y="173311"/>
                  <a:pt x="1115234" y="173311"/>
                  <a:pt x="1049741" y="173311"/>
                </a:cubicBezTo>
                <a:cubicBezTo>
                  <a:pt x="1049741" y="173311"/>
                  <a:pt x="1049741" y="173311"/>
                  <a:pt x="1049741" y="295226"/>
                </a:cubicBezTo>
                <a:cubicBezTo>
                  <a:pt x="1049741" y="295226"/>
                  <a:pt x="1049741" y="295226"/>
                  <a:pt x="999729" y="295226"/>
                </a:cubicBezTo>
                <a:cubicBezTo>
                  <a:pt x="999729" y="295226"/>
                  <a:pt x="999729" y="295226"/>
                  <a:pt x="999729" y="0"/>
                </a:cubicBezTo>
                <a:close/>
                <a:moveTo>
                  <a:pt x="717625" y="0"/>
                </a:moveTo>
                <a:lnTo>
                  <a:pt x="767586" y="0"/>
                </a:lnTo>
                <a:lnTo>
                  <a:pt x="767586" y="129193"/>
                </a:lnTo>
                <a:lnTo>
                  <a:pt x="893751" y="129193"/>
                </a:lnTo>
                <a:lnTo>
                  <a:pt x="893751" y="0"/>
                </a:lnTo>
                <a:lnTo>
                  <a:pt x="943712" y="0"/>
                </a:lnTo>
                <a:lnTo>
                  <a:pt x="943712" y="295226"/>
                </a:lnTo>
                <a:lnTo>
                  <a:pt x="893751" y="295226"/>
                </a:lnTo>
                <a:lnTo>
                  <a:pt x="893751" y="173098"/>
                </a:lnTo>
                <a:lnTo>
                  <a:pt x="767586" y="173098"/>
                </a:lnTo>
                <a:lnTo>
                  <a:pt x="767586" y="295226"/>
                </a:lnTo>
                <a:lnTo>
                  <a:pt x="717625" y="295226"/>
                </a:lnTo>
                <a:close/>
                <a:moveTo>
                  <a:pt x="401708" y="0"/>
                </a:moveTo>
                <a:lnTo>
                  <a:pt x="448137" y="0"/>
                </a:lnTo>
                <a:lnTo>
                  <a:pt x="531405" y="135249"/>
                </a:lnTo>
                <a:lnTo>
                  <a:pt x="616188" y="0"/>
                </a:lnTo>
                <a:lnTo>
                  <a:pt x="661607" y="0"/>
                </a:lnTo>
                <a:lnTo>
                  <a:pt x="661607" y="295226"/>
                </a:lnTo>
                <a:lnTo>
                  <a:pt x="612655" y="295226"/>
                </a:lnTo>
                <a:lnTo>
                  <a:pt x="612655" y="93362"/>
                </a:lnTo>
                <a:lnTo>
                  <a:pt x="531405" y="221041"/>
                </a:lnTo>
                <a:lnTo>
                  <a:pt x="451669" y="93362"/>
                </a:lnTo>
                <a:lnTo>
                  <a:pt x="451669" y="295226"/>
                </a:lnTo>
                <a:lnTo>
                  <a:pt x="401708" y="295226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301" name="SmartArt-Platzhalter 300">
            <a:extLst>
              <a:ext uri="{FF2B5EF4-FFF2-40B4-BE49-F238E27FC236}">
                <a16:creationId xmlns:a16="http://schemas.microsoft.com/office/drawing/2014/main" id="{75DC54DC-758D-42F2-99F9-BAD25F1F1C23}"/>
              </a:ext>
            </a:extLst>
          </p:cNvPr>
          <p:cNvSpPr>
            <a:spLocks noGrp="1"/>
          </p:cNvSpPr>
          <p:nvPr>
            <p:ph type="dgm" sz="quarter" idx="16"/>
          </p:nvPr>
        </p:nvSpPr>
        <p:spPr bwMode="gray">
          <a:xfrm>
            <a:off x="10567565" y="488304"/>
            <a:ext cx="291692" cy="295226"/>
          </a:xfrm>
          <a:custGeom>
            <a:avLst/>
            <a:gdLst>
              <a:gd name="connsiteX0" fmla="*/ 117585 w 291692"/>
              <a:gd name="connsiteY0" fmla="*/ 163510 h 295226"/>
              <a:gd name="connsiteX1" fmla="*/ 166537 w 291692"/>
              <a:gd name="connsiteY1" fmla="*/ 163510 h 295226"/>
              <a:gd name="connsiteX2" fmla="*/ 145341 w 291692"/>
              <a:gd name="connsiteY2" fmla="*/ 295226 h 295226"/>
              <a:gd name="connsiteX3" fmla="*/ 96389 w 291692"/>
              <a:gd name="connsiteY3" fmla="*/ 295226 h 295226"/>
              <a:gd name="connsiteX4" fmla="*/ 242740 w 291692"/>
              <a:gd name="connsiteY4" fmla="*/ 0 h 295226"/>
              <a:gd name="connsiteX5" fmla="*/ 291692 w 291692"/>
              <a:gd name="connsiteY5" fmla="*/ 0 h 295226"/>
              <a:gd name="connsiteX6" fmla="*/ 291692 w 291692"/>
              <a:gd name="connsiteY6" fmla="*/ 295226 h 295226"/>
              <a:gd name="connsiteX7" fmla="*/ 242740 w 291692"/>
              <a:gd name="connsiteY7" fmla="*/ 295226 h 295226"/>
              <a:gd name="connsiteX8" fmla="*/ 145341 w 291692"/>
              <a:gd name="connsiteY8" fmla="*/ 0 h 295226"/>
              <a:gd name="connsiteX9" fmla="*/ 193788 w 291692"/>
              <a:gd name="connsiteY9" fmla="*/ 0 h 295226"/>
              <a:gd name="connsiteX10" fmla="*/ 175116 w 291692"/>
              <a:gd name="connsiteY10" fmla="*/ 114558 h 295226"/>
              <a:gd name="connsiteX11" fmla="*/ 126164 w 291692"/>
              <a:gd name="connsiteY11" fmla="*/ 114558 h 295226"/>
              <a:gd name="connsiteX12" fmla="*/ 0 w 291692"/>
              <a:gd name="connsiteY12" fmla="*/ 0 h 295226"/>
              <a:gd name="connsiteX13" fmla="*/ 48447 w 291692"/>
              <a:gd name="connsiteY13" fmla="*/ 0 h 295226"/>
              <a:gd name="connsiteX14" fmla="*/ 48447 w 291692"/>
              <a:gd name="connsiteY14" fmla="*/ 295226 h 295226"/>
              <a:gd name="connsiteX15" fmla="*/ 0 w 291692"/>
              <a:gd name="connsiteY15" fmla="*/ 295226 h 2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91692" h="295226">
                <a:moveTo>
                  <a:pt x="117585" y="163510"/>
                </a:moveTo>
                <a:lnTo>
                  <a:pt x="166537" y="163510"/>
                </a:lnTo>
                <a:lnTo>
                  <a:pt x="145341" y="295226"/>
                </a:lnTo>
                <a:lnTo>
                  <a:pt x="96389" y="295226"/>
                </a:lnTo>
                <a:close/>
                <a:moveTo>
                  <a:pt x="242740" y="0"/>
                </a:moveTo>
                <a:lnTo>
                  <a:pt x="291692" y="0"/>
                </a:lnTo>
                <a:lnTo>
                  <a:pt x="291692" y="295226"/>
                </a:lnTo>
                <a:lnTo>
                  <a:pt x="242740" y="295226"/>
                </a:lnTo>
                <a:close/>
                <a:moveTo>
                  <a:pt x="145341" y="0"/>
                </a:moveTo>
                <a:lnTo>
                  <a:pt x="193788" y="0"/>
                </a:lnTo>
                <a:lnTo>
                  <a:pt x="175116" y="114558"/>
                </a:lnTo>
                <a:lnTo>
                  <a:pt x="126164" y="114558"/>
                </a:lnTo>
                <a:close/>
                <a:moveTo>
                  <a:pt x="0" y="0"/>
                </a:moveTo>
                <a:lnTo>
                  <a:pt x="48447" y="0"/>
                </a:lnTo>
                <a:lnTo>
                  <a:pt x="48447" y="295226"/>
                </a:lnTo>
                <a:lnTo>
                  <a:pt x="0" y="29522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7B7813C7-B010-444C-AE3C-C5924C6E5F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484313"/>
            <a:ext cx="4247851" cy="79216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lientitel einfügen</a:t>
            </a:r>
          </a:p>
        </p:txBody>
      </p:sp>
    </p:spTree>
    <p:extLst>
      <p:ext uri="{BB962C8B-B14F-4D97-AF65-F5344CB8AC3E}">
        <p14:creationId xmlns:p14="http://schemas.microsoft.com/office/powerpoint/2010/main" val="2808140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AF5A46C-2E65-42C7-8A2B-E0E53656A2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463" y="1484313"/>
            <a:ext cx="5545904" cy="79216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lientitel einfügen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2D9FC0F-FF57-4A79-BCB4-D39428CA745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-1" y="0"/>
            <a:ext cx="5951539" cy="6858000"/>
          </a:xfrm>
          <a:custGeom>
            <a:avLst/>
            <a:gdLst>
              <a:gd name="connsiteX0" fmla="*/ 0 w 5951539"/>
              <a:gd name="connsiteY0" fmla="*/ 0 h 6858000"/>
              <a:gd name="connsiteX1" fmla="*/ 1655764 w 5951539"/>
              <a:gd name="connsiteY1" fmla="*/ 0 h 6858000"/>
              <a:gd name="connsiteX2" fmla="*/ 4295775 w 5951539"/>
              <a:gd name="connsiteY2" fmla="*/ 0 h 6858000"/>
              <a:gd name="connsiteX3" fmla="*/ 5951539 w 5951539"/>
              <a:gd name="connsiteY3" fmla="*/ 0 h 6858000"/>
              <a:gd name="connsiteX4" fmla="*/ 4751689 w 5951539"/>
              <a:gd name="connsiteY4" fmla="*/ 6858000 h 6858000"/>
              <a:gd name="connsiteX5" fmla="*/ 3095925 w 5951539"/>
              <a:gd name="connsiteY5" fmla="*/ 6858000 h 6858000"/>
              <a:gd name="connsiteX6" fmla="*/ 1655764 w 5951539"/>
              <a:gd name="connsiteY6" fmla="*/ 6858000 h 6858000"/>
              <a:gd name="connsiteX7" fmla="*/ 0 w 5951539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51539" h="6858000">
                <a:moveTo>
                  <a:pt x="0" y="0"/>
                </a:moveTo>
                <a:lnTo>
                  <a:pt x="1655764" y="0"/>
                </a:lnTo>
                <a:lnTo>
                  <a:pt x="4295775" y="0"/>
                </a:lnTo>
                <a:lnTo>
                  <a:pt x="5951539" y="0"/>
                </a:lnTo>
                <a:lnTo>
                  <a:pt x="4751689" y="6858000"/>
                </a:lnTo>
                <a:lnTo>
                  <a:pt x="3095925" y="6858000"/>
                </a:lnTo>
                <a:lnTo>
                  <a:pt x="1655764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 bIns="756000" anchor="ctr">
            <a:noAutofit/>
          </a:bodyPr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3BC36C0F-260C-4532-AE45-4D4E4B79B07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463" y="2589213"/>
            <a:ext cx="5545137" cy="37925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19841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A85B38F2-D876-4C05-AC33-3C7383B87FA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 flipH="1">
            <a:off x="6239178" y="0"/>
            <a:ext cx="5952823" cy="6858000"/>
          </a:xfrm>
          <a:custGeom>
            <a:avLst/>
            <a:gdLst>
              <a:gd name="connsiteX0" fmla="*/ 4752973 w 5952823"/>
              <a:gd name="connsiteY0" fmla="*/ 0 h 6858000"/>
              <a:gd name="connsiteX1" fmla="*/ 4295775 w 5952823"/>
              <a:gd name="connsiteY1" fmla="*/ 0 h 6858000"/>
              <a:gd name="connsiteX2" fmla="*/ 3120232 w 5952823"/>
              <a:gd name="connsiteY2" fmla="*/ 0 h 6858000"/>
              <a:gd name="connsiteX3" fmla="*/ 3120231 w 5952823"/>
              <a:gd name="connsiteY3" fmla="*/ 0 h 6858000"/>
              <a:gd name="connsiteX4" fmla="*/ 1655764 w 5952823"/>
              <a:gd name="connsiteY4" fmla="*/ 0 h 6858000"/>
              <a:gd name="connsiteX5" fmla="*/ 0 w 5952823"/>
              <a:gd name="connsiteY5" fmla="*/ 0 h 6858000"/>
              <a:gd name="connsiteX6" fmla="*/ 0 w 5952823"/>
              <a:gd name="connsiteY6" fmla="*/ 6858000 h 6858000"/>
              <a:gd name="connsiteX7" fmla="*/ 1199850 w 5952823"/>
              <a:gd name="connsiteY7" fmla="*/ 6858000 h 6858000"/>
              <a:gd name="connsiteX8" fmla="*/ 1655764 w 5952823"/>
              <a:gd name="connsiteY8" fmla="*/ 6858000 h 6858000"/>
              <a:gd name="connsiteX9" fmla="*/ 2855614 w 5952823"/>
              <a:gd name="connsiteY9" fmla="*/ 6858000 h 6858000"/>
              <a:gd name="connsiteX10" fmla="*/ 3095925 w 5952823"/>
              <a:gd name="connsiteY10" fmla="*/ 6858000 h 6858000"/>
              <a:gd name="connsiteX11" fmla="*/ 3120231 w 5952823"/>
              <a:gd name="connsiteY11" fmla="*/ 6858000 h 6858000"/>
              <a:gd name="connsiteX12" fmla="*/ 3120232 w 5952823"/>
              <a:gd name="connsiteY12" fmla="*/ 6858000 h 6858000"/>
              <a:gd name="connsiteX13" fmla="*/ 4295775 w 5952823"/>
              <a:gd name="connsiteY13" fmla="*/ 6858000 h 6858000"/>
              <a:gd name="connsiteX14" fmla="*/ 4320081 w 5952823"/>
              <a:gd name="connsiteY14" fmla="*/ 6858000 h 6858000"/>
              <a:gd name="connsiteX15" fmla="*/ 4320082 w 5952823"/>
              <a:gd name="connsiteY15" fmla="*/ 6858000 h 6858000"/>
              <a:gd name="connsiteX16" fmla="*/ 4751689 w 5952823"/>
              <a:gd name="connsiteY16" fmla="*/ 6858000 h 6858000"/>
              <a:gd name="connsiteX17" fmla="*/ 4775995 w 5952823"/>
              <a:gd name="connsiteY17" fmla="*/ 6858000 h 6858000"/>
              <a:gd name="connsiteX18" fmla="*/ 4775996 w 5952823"/>
              <a:gd name="connsiteY18" fmla="*/ 6858000 h 6858000"/>
              <a:gd name="connsiteX19" fmla="*/ 5951539 w 5952823"/>
              <a:gd name="connsiteY19" fmla="*/ 6858000 h 6858000"/>
              <a:gd name="connsiteX20" fmla="*/ 5952823 w 5952823"/>
              <a:gd name="connsiteY2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952823" h="6858000">
                <a:moveTo>
                  <a:pt x="4752973" y="0"/>
                </a:moveTo>
                <a:lnTo>
                  <a:pt x="4295775" y="0"/>
                </a:lnTo>
                <a:lnTo>
                  <a:pt x="3120232" y="0"/>
                </a:lnTo>
                <a:lnTo>
                  <a:pt x="3120231" y="0"/>
                </a:lnTo>
                <a:lnTo>
                  <a:pt x="1655764" y="0"/>
                </a:lnTo>
                <a:lnTo>
                  <a:pt x="0" y="0"/>
                </a:lnTo>
                <a:lnTo>
                  <a:pt x="0" y="6858000"/>
                </a:lnTo>
                <a:lnTo>
                  <a:pt x="1199850" y="6858000"/>
                </a:lnTo>
                <a:lnTo>
                  <a:pt x="1655764" y="6858000"/>
                </a:lnTo>
                <a:lnTo>
                  <a:pt x="2855614" y="6858000"/>
                </a:lnTo>
                <a:lnTo>
                  <a:pt x="3095925" y="6858000"/>
                </a:lnTo>
                <a:lnTo>
                  <a:pt x="3120231" y="6858000"/>
                </a:lnTo>
                <a:lnTo>
                  <a:pt x="3120232" y="6858000"/>
                </a:lnTo>
                <a:lnTo>
                  <a:pt x="4295775" y="6858000"/>
                </a:lnTo>
                <a:lnTo>
                  <a:pt x="4320081" y="6858000"/>
                </a:lnTo>
                <a:lnTo>
                  <a:pt x="4320082" y="6858000"/>
                </a:lnTo>
                <a:lnTo>
                  <a:pt x="4751689" y="6858000"/>
                </a:lnTo>
                <a:lnTo>
                  <a:pt x="4775995" y="6858000"/>
                </a:lnTo>
                <a:lnTo>
                  <a:pt x="4775996" y="6858000"/>
                </a:lnTo>
                <a:lnTo>
                  <a:pt x="5951539" y="6858000"/>
                </a:lnTo>
                <a:lnTo>
                  <a:pt x="5952823" y="6858000"/>
                </a:lnTo>
                <a:close/>
              </a:path>
            </a:pathLst>
          </a:custGeom>
          <a:noFill/>
        </p:spPr>
        <p:txBody>
          <a:bodyPr wrap="square" bIns="756000" anchor="ctr">
            <a:noAutofit/>
          </a:bodyPr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AF5A46C-2E65-42C7-8A2B-E0E53656A2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9" y="1484313"/>
            <a:ext cx="5543549" cy="79216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lientitel einfügen</a:t>
            </a:r>
          </a:p>
        </p:txBody>
      </p:sp>
      <p:sp>
        <p:nvSpPr>
          <p:cNvPr id="25" name="SmartArt-Platzhalter 296">
            <a:extLst>
              <a:ext uri="{FF2B5EF4-FFF2-40B4-BE49-F238E27FC236}">
                <a16:creationId xmlns:a16="http://schemas.microsoft.com/office/drawing/2014/main" id="{92003CBC-1786-4989-934A-BDEB8ED8804B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0566051" y="488304"/>
            <a:ext cx="1213200" cy="485482"/>
          </a:xfrm>
          <a:custGeom>
            <a:avLst/>
            <a:gdLst>
              <a:gd name="connsiteX0" fmla="*/ 1022440 w 1213200"/>
              <a:gd name="connsiteY0" fmla="*/ 413820 h 485482"/>
              <a:gd name="connsiteX1" fmla="*/ 1006795 w 1213200"/>
              <a:gd name="connsiteY1" fmla="*/ 455707 h 485482"/>
              <a:gd name="connsiteX2" fmla="*/ 1038084 w 1213200"/>
              <a:gd name="connsiteY2" fmla="*/ 455707 h 485482"/>
              <a:gd name="connsiteX3" fmla="*/ 35830 w 1213200"/>
              <a:gd name="connsiteY3" fmla="*/ 413820 h 485482"/>
              <a:gd name="connsiteX4" fmla="*/ 20186 w 1213200"/>
              <a:gd name="connsiteY4" fmla="*/ 455707 h 485482"/>
              <a:gd name="connsiteX5" fmla="*/ 51475 w 1213200"/>
              <a:gd name="connsiteY5" fmla="*/ 455707 h 485482"/>
              <a:gd name="connsiteX6" fmla="*/ 942703 w 1213200"/>
              <a:gd name="connsiteY6" fmla="*/ 412306 h 485482"/>
              <a:gd name="connsiteX7" fmla="*/ 942703 w 1213200"/>
              <a:gd name="connsiteY7" fmla="*/ 446118 h 485482"/>
              <a:gd name="connsiteX8" fmla="*/ 962906 w 1213200"/>
              <a:gd name="connsiteY8" fmla="*/ 446118 h 485482"/>
              <a:gd name="connsiteX9" fmla="*/ 979543 w 1213200"/>
              <a:gd name="connsiteY9" fmla="*/ 429212 h 485482"/>
              <a:gd name="connsiteX10" fmla="*/ 962906 w 1213200"/>
              <a:gd name="connsiteY10" fmla="*/ 412306 h 485482"/>
              <a:gd name="connsiteX11" fmla="*/ 942703 w 1213200"/>
              <a:gd name="connsiteY11" fmla="*/ 412306 h 485482"/>
              <a:gd name="connsiteX12" fmla="*/ 281095 w 1213200"/>
              <a:gd name="connsiteY12" fmla="*/ 412306 h 485482"/>
              <a:gd name="connsiteX13" fmla="*/ 281095 w 1213200"/>
              <a:gd name="connsiteY13" fmla="*/ 446118 h 485482"/>
              <a:gd name="connsiteX14" fmla="*/ 302669 w 1213200"/>
              <a:gd name="connsiteY14" fmla="*/ 446118 h 485482"/>
              <a:gd name="connsiteX15" fmla="*/ 319449 w 1213200"/>
              <a:gd name="connsiteY15" fmla="*/ 429212 h 485482"/>
              <a:gd name="connsiteX16" fmla="*/ 302669 w 1213200"/>
              <a:gd name="connsiteY16" fmla="*/ 412306 h 485482"/>
              <a:gd name="connsiteX17" fmla="*/ 281095 w 1213200"/>
              <a:gd name="connsiteY17" fmla="*/ 412306 h 485482"/>
              <a:gd name="connsiteX18" fmla="*/ 132221 w 1213200"/>
              <a:gd name="connsiteY18" fmla="*/ 412306 h 485482"/>
              <a:gd name="connsiteX19" fmla="*/ 132221 w 1213200"/>
              <a:gd name="connsiteY19" fmla="*/ 446118 h 485482"/>
              <a:gd name="connsiteX20" fmla="*/ 152525 w 1213200"/>
              <a:gd name="connsiteY20" fmla="*/ 446118 h 485482"/>
              <a:gd name="connsiteX21" fmla="*/ 168052 w 1213200"/>
              <a:gd name="connsiteY21" fmla="*/ 429212 h 485482"/>
              <a:gd name="connsiteX22" fmla="*/ 152525 w 1213200"/>
              <a:gd name="connsiteY22" fmla="*/ 412306 h 485482"/>
              <a:gd name="connsiteX23" fmla="*/ 132221 w 1213200"/>
              <a:gd name="connsiteY23" fmla="*/ 412306 h 485482"/>
              <a:gd name="connsiteX24" fmla="*/ 793576 w 1213200"/>
              <a:gd name="connsiteY24" fmla="*/ 411297 h 485482"/>
              <a:gd name="connsiteX25" fmla="*/ 772128 w 1213200"/>
              <a:gd name="connsiteY25" fmla="*/ 431575 h 485482"/>
              <a:gd name="connsiteX26" fmla="*/ 772128 w 1213200"/>
              <a:gd name="connsiteY26" fmla="*/ 456625 h 485482"/>
              <a:gd name="connsiteX27" fmla="*/ 793576 w 1213200"/>
              <a:gd name="connsiteY27" fmla="*/ 476903 h 485482"/>
              <a:gd name="connsiteX28" fmla="*/ 815024 w 1213200"/>
              <a:gd name="connsiteY28" fmla="*/ 456625 h 485482"/>
              <a:gd name="connsiteX29" fmla="*/ 815024 w 1213200"/>
              <a:gd name="connsiteY29" fmla="*/ 431575 h 485482"/>
              <a:gd name="connsiteX30" fmla="*/ 793576 w 1213200"/>
              <a:gd name="connsiteY30" fmla="*/ 411297 h 485482"/>
              <a:gd name="connsiteX31" fmla="*/ 221798 w 1213200"/>
              <a:gd name="connsiteY31" fmla="*/ 411297 h 485482"/>
              <a:gd name="connsiteX32" fmla="*/ 200350 w 1213200"/>
              <a:gd name="connsiteY32" fmla="*/ 431575 h 485482"/>
              <a:gd name="connsiteX33" fmla="*/ 200350 w 1213200"/>
              <a:gd name="connsiteY33" fmla="*/ 456625 h 485482"/>
              <a:gd name="connsiteX34" fmla="*/ 221798 w 1213200"/>
              <a:gd name="connsiteY34" fmla="*/ 476903 h 485482"/>
              <a:gd name="connsiteX35" fmla="*/ 243246 w 1213200"/>
              <a:gd name="connsiteY35" fmla="*/ 456625 h 485482"/>
              <a:gd name="connsiteX36" fmla="*/ 243246 w 1213200"/>
              <a:gd name="connsiteY36" fmla="*/ 431575 h 485482"/>
              <a:gd name="connsiteX37" fmla="*/ 221798 w 1213200"/>
              <a:gd name="connsiteY37" fmla="*/ 411297 h 485482"/>
              <a:gd name="connsiteX38" fmla="*/ 1144062 w 1213200"/>
              <a:gd name="connsiteY38" fmla="*/ 404232 h 485482"/>
              <a:gd name="connsiteX39" fmla="*/ 1154660 w 1213200"/>
              <a:gd name="connsiteY39" fmla="*/ 404232 h 485482"/>
              <a:gd name="connsiteX40" fmla="*/ 1178379 w 1213200"/>
              <a:gd name="connsiteY40" fmla="*/ 443596 h 485482"/>
              <a:gd name="connsiteX41" fmla="*/ 1201088 w 1213200"/>
              <a:gd name="connsiteY41" fmla="*/ 404232 h 485482"/>
              <a:gd name="connsiteX42" fmla="*/ 1213200 w 1213200"/>
              <a:gd name="connsiteY42" fmla="*/ 404232 h 485482"/>
              <a:gd name="connsiteX43" fmla="*/ 1183425 w 1213200"/>
              <a:gd name="connsiteY43" fmla="*/ 453184 h 485482"/>
              <a:gd name="connsiteX44" fmla="*/ 1183425 w 1213200"/>
              <a:gd name="connsiteY44" fmla="*/ 484473 h 485482"/>
              <a:gd name="connsiteX45" fmla="*/ 1173837 w 1213200"/>
              <a:gd name="connsiteY45" fmla="*/ 484473 h 485482"/>
              <a:gd name="connsiteX46" fmla="*/ 1173837 w 1213200"/>
              <a:gd name="connsiteY46" fmla="*/ 453184 h 485482"/>
              <a:gd name="connsiteX47" fmla="*/ 1071391 w 1213200"/>
              <a:gd name="connsiteY47" fmla="*/ 404232 h 485482"/>
              <a:gd name="connsiteX48" fmla="*/ 1079466 w 1213200"/>
              <a:gd name="connsiteY48" fmla="*/ 404232 h 485482"/>
              <a:gd name="connsiteX49" fmla="*/ 1121352 w 1213200"/>
              <a:gd name="connsiteY49" fmla="*/ 467315 h 485482"/>
              <a:gd name="connsiteX50" fmla="*/ 1121352 w 1213200"/>
              <a:gd name="connsiteY50" fmla="*/ 404232 h 485482"/>
              <a:gd name="connsiteX51" fmla="*/ 1130941 w 1213200"/>
              <a:gd name="connsiteY51" fmla="*/ 404232 h 485482"/>
              <a:gd name="connsiteX52" fmla="*/ 1130941 w 1213200"/>
              <a:gd name="connsiteY52" fmla="*/ 484473 h 485482"/>
              <a:gd name="connsiteX53" fmla="*/ 1122362 w 1213200"/>
              <a:gd name="connsiteY53" fmla="*/ 484473 h 485482"/>
              <a:gd name="connsiteX54" fmla="*/ 1080980 w 1213200"/>
              <a:gd name="connsiteY54" fmla="*/ 420886 h 485482"/>
              <a:gd name="connsiteX55" fmla="*/ 1080980 w 1213200"/>
              <a:gd name="connsiteY55" fmla="*/ 484473 h 485482"/>
              <a:gd name="connsiteX56" fmla="*/ 1071391 w 1213200"/>
              <a:gd name="connsiteY56" fmla="*/ 484473 h 485482"/>
              <a:gd name="connsiteX57" fmla="*/ 1017392 w 1213200"/>
              <a:gd name="connsiteY57" fmla="*/ 404232 h 485482"/>
              <a:gd name="connsiteX58" fmla="*/ 1029504 w 1213200"/>
              <a:gd name="connsiteY58" fmla="*/ 404232 h 485482"/>
              <a:gd name="connsiteX59" fmla="*/ 1058269 w 1213200"/>
              <a:gd name="connsiteY59" fmla="*/ 484473 h 485482"/>
              <a:gd name="connsiteX60" fmla="*/ 1048681 w 1213200"/>
              <a:gd name="connsiteY60" fmla="*/ 484473 h 485482"/>
              <a:gd name="connsiteX61" fmla="*/ 1040101 w 1213200"/>
              <a:gd name="connsiteY61" fmla="*/ 463782 h 485482"/>
              <a:gd name="connsiteX62" fmla="*/ 1004271 w 1213200"/>
              <a:gd name="connsiteY62" fmla="*/ 463782 h 485482"/>
              <a:gd name="connsiteX63" fmla="*/ 997205 w 1213200"/>
              <a:gd name="connsiteY63" fmla="*/ 484473 h 485482"/>
              <a:gd name="connsiteX64" fmla="*/ 987617 w 1213200"/>
              <a:gd name="connsiteY64" fmla="*/ 484473 h 485482"/>
              <a:gd name="connsiteX65" fmla="*/ 933114 w 1213200"/>
              <a:gd name="connsiteY65" fmla="*/ 404232 h 485482"/>
              <a:gd name="connsiteX66" fmla="*/ 962910 w 1213200"/>
              <a:gd name="connsiteY66" fmla="*/ 404232 h 485482"/>
              <a:gd name="connsiteX67" fmla="*/ 989131 w 1213200"/>
              <a:gd name="connsiteY67" fmla="*/ 429382 h 485482"/>
              <a:gd name="connsiteX68" fmla="*/ 962910 w 1213200"/>
              <a:gd name="connsiteY68" fmla="*/ 454532 h 485482"/>
              <a:gd name="connsiteX69" fmla="*/ 942649 w 1213200"/>
              <a:gd name="connsiteY69" fmla="*/ 454532 h 485482"/>
              <a:gd name="connsiteX70" fmla="*/ 942649 w 1213200"/>
              <a:gd name="connsiteY70" fmla="*/ 484473 h 485482"/>
              <a:gd name="connsiteX71" fmla="*/ 933114 w 1213200"/>
              <a:gd name="connsiteY71" fmla="*/ 484473 h 485482"/>
              <a:gd name="connsiteX72" fmla="*/ 843790 w 1213200"/>
              <a:gd name="connsiteY72" fmla="*/ 404232 h 485482"/>
              <a:gd name="connsiteX73" fmla="*/ 853378 w 1213200"/>
              <a:gd name="connsiteY73" fmla="*/ 404232 h 485482"/>
              <a:gd name="connsiteX74" fmla="*/ 878107 w 1213200"/>
              <a:gd name="connsiteY74" fmla="*/ 452175 h 485482"/>
              <a:gd name="connsiteX75" fmla="*/ 903340 w 1213200"/>
              <a:gd name="connsiteY75" fmla="*/ 404232 h 485482"/>
              <a:gd name="connsiteX76" fmla="*/ 912928 w 1213200"/>
              <a:gd name="connsiteY76" fmla="*/ 404232 h 485482"/>
              <a:gd name="connsiteX77" fmla="*/ 912928 w 1213200"/>
              <a:gd name="connsiteY77" fmla="*/ 484473 h 485482"/>
              <a:gd name="connsiteX78" fmla="*/ 903340 w 1213200"/>
              <a:gd name="connsiteY78" fmla="*/ 484473 h 485482"/>
              <a:gd name="connsiteX79" fmla="*/ 903340 w 1213200"/>
              <a:gd name="connsiteY79" fmla="*/ 423409 h 485482"/>
              <a:gd name="connsiteX80" fmla="*/ 878107 w 1213200"/>
              <a:gd name="connsiteY80" fmla="*/ 469838 h 485482"/>
              <a:gd name="connsiteX81" fmla="*/ 853378 w 1213200"/>
              <a:gd name="connsiteY81" fmla="*/ 423409 h 485482"/>
              <a:gd name="connsiteX82" fmla="*/ 853378 w 1213200"/>
              <a:gd name="connsiteY82" fmla="*/ 484473 h 485482"/>
              <a:gd name="connsiteX83" fmla="*/ 843790 w 1213200"/>
              <a:gd name="connsiteY83" fmla="*/ 484473 h 485482"/>
              <a:gd name="connsiteX84" fmla="*/ 579348 w 1213200"/>
              <a:gd name="connsiteY84" fmla="*/ 404232 h 485482"/>
              <a:gd name="connsiteX85" fmla="*/ 630319 w 1213200"/>
              <a:gd name="connsiteY85" fmla="*/ 404232 h 485482"/>
              <a:gd name="connsiteX86" fmla="*/ 630319 w 1213200"/>
              <a:gd name="connsiteY86" fmla="*/ 412307 h 485482"/>
              <a:gd name="connsiteX87" fmla="*/ 588937 w 1213200"/>
              <a:gd name="connsiteY87" fmla="*/ 412307 h 485482"/>
              <a:gd name="connsiteX88" fmla="*/ 588937 w 1213200"/>
              <a:gd name="connsiteY88" fmla="*/ 440063 h 485482"/>
              <a:gd name="connsiteX89" fmla="*/ 625777 w 1213200"/>
              <a:gd name="connsiteY89" fmla="*/ 440063 h 485482"/>
              <a:gd name="connsiteX90" fmla="*/ 625777 w 1213200"/>
              <a:gd name="connsiteY90" fmla="*/ 448642 h 485482"/>
              <a:gd name="connsiteX91" fmla="*/ 588937 w 1213200"/>
              <a:gd name="connsiteY91" fmla="*/ 448642 h 485482"/>
              <a:gd name="connsiteX92" fmla="*/ 588937 w 1213200"/>
              <a:gd name="connsiteY92" fmla="*/ 475894 h 485482"/>
              <a:gd name="connsiteX93" fmla="*/ 630319 w 1213200"/>
              <a:gd name="connsiteY93" fmla="*/ 475894 h 485482"/>
              <a:gd name="connsiteX94" fmla="*/ 630319 w 1213200"/>
              <a:gd name="connsiteY94" fmla="*/ 484473 h 485482"/>
              <a:gd name="connsiteX95" fmla="*/ 579348 w 1213200"/>
              <a:gd name="connsiteY95" fmla="*/ 484473 h 485482"/>
              <a:gd name="connsiteX96" fmla="*/ 499108 w 1213200"/>
              <a:gd name="connsiteY96" fmla="*/ 404232 h 485482"/>
              <a:gd name="connsiteX97" fmla="*/ 508696 w 1213200"/>
              <a:gd name="connsiteY97" fmla="*/ 404232 h 485482"/>
              <a:gd name="connsiteX98" fmla="*/ 508696 w 1213200"/>
              <a:gd name="connsiteY98" fmla="*/ 440063 h 485482"/>
              <a:gd name="connsiteX99" fmla="*/ 549574 w 1213200"/>
              <a:gd name="connsiteY99" fmla="*/ 440063 h 485482"/>
              <a:gd name="connsiteX100" fmla="*/ 549574 w 1213200"/>
              <a:gd name="connsiteY100" fmla="*/ 404232 h 485482"/>
              <a:gd name="connsiteX101" fmla="*/ 559162 w 1213200"/>
              <a:gd name="connsiteY101" fmla="*/ 404232 h 485482"/>
              <a:gd name="connsiteX102" fmla="*/ 559162 w 1213200"/>
              <a:gd name="connsiteY102" fmla="*/ 484473 h 485482"/>
              <a:gd name="connsiteX103" fmla="*/ 549574 w 1213200"/>
              <a:gd name="connsiteY103" fmla="*/ 484473 h 485482"/>
              <a:gd name="connsiteX104" fmla="*/ 549574 w 1213200"/>
              <a:gd name="connsiteY104" fmla="*/ 448642 h 485482"/>
              <a:gd name="connsiteX105" fmla="*/ 508696 w 1213200"/>
              <a:gd name="connsiteY105" fmla="*/ 448642 h 485482"/>
              <a:gd name="connsiteX106" fmla="*/ 508696 w 1213200"/>
              <a:gd name="connsiteY106" fmla="*/ 484473 h 485482"/>
              <a:gd name="connsiteX107" fmla="*/ 499108 w 1213200"/>
              <a:gd name="connsiteY107" fmla="*/ 484473 h 485482"/>
              <a:gd name="connsiteX108" fmla="*/ 272011 w 1213200"/>
              <a:gd name="connsiteY108" fmla="*/ 404232 h 485482"/>
              <a:gd name="connsiteX109" fmla="*/ 302900 w 1213200"/>
              <a:gd name="connsiteY109" fmla="*/ 404232 h 485482"/>
              <a:gd name="connsiteX110" fmla="*/ 329037 w 1213200"/>
              <a:gd name="connsiteY110" fmla="*/ 429382 h 485482"/>
              <a:gd name="connsiteX111" fmla="*/ 313592 w 1213200"/>
              <a:gd name="connsiteY111" fmla="*/ 452137 h 485482"/>
              <a:gd name="connsiteX112" fmla="*/ 329037 w 1213200"/>
              <a:gd name="connsiteY112" fmla="*/ 484473 h 485482"/>
              <a:gd name="connsiteX113" fmla="*/ 318345 w 1213200"/>
              <a:gd name="connsiteY113" fmla="*/ 484473 h 485482"/>
              <a:gd name="connsiteX114" fmla="*/ 304088 w 1213200"/>
              <a:gd name="connsiteY114" fmla="*/ 454532 h 485482"/>
              <a:gd name="connsiteX115" fmla="*/ 281515 w 1213200"/>
              <a:gd name="connsiteY115" fmla="*/ 454532 h 485482"/>
              <a:gd name="connsiteX116" fmla="*/ 281515 w 1213200"/>
              <a:gd name="connsiteY116" fmla="*/ 484473 h 485482"/>
              <a:gd name="connsiteX117" fmla="*/ 272011 w 1213200"/>
              <a:gd name="connsiteY117" fmla="*/ 484473 h 485482"/>
              <a:gd name="connsiteX118" fmla="*/ 122632 w 1213200"/>
              <a:gd name="connsiteY118" fmla="*/ 404232 h 485482"/>
              <a:gd name="connsiteX119" fmla="*/ 152428 w 1213200"/>
              <a:gd name="connsiteY119" fmla="*/ 404232 h 485482"/>
              <a:gd name="connsiteX120" fmla="*/ 178649 w 1213200"/>
              <a:gd name="connsiteY120" fmla="*/ 429382 h 485482"/>
              <a:gd name="connsiteX121" fmla="*/ 152428 w 1213200"/>
              <a:gd name="connsiteY121" fmla="*/ 454532 h 485482"/>
              <a:gd name="connsiteX122" fmla="*/ 132167 w 1213200"/>
              <a:gd name="connsiteY122" fmla="*/ 454532 h 485482"/>
              <a:gd name="connsiteX123" fmla="*/ 132167 w 1213200"/>
              <a:gd name="connsiteY123" fmla="*/ 484473 h 485482"/>
              <a:gd name="connsiteX124" fmla="*/ 122632 w 1213200"/>
              <a:gd name="connsiteY124" fmla="*/ 484473 h 485482"/>
              <a:gd name="connsiteX125" fmla="*/ 29775 w 1213200"/>
              <a:gd name="connsiteY125" fmla="*/ 404232 h 485482"/>
              <a:gd name="connsiteX126" fmla="*/ 41887 w 1213200"/>
              <a:gd name="connsiteY126" fmla="*/ 404232 h 485482"/>
              <a:gd name="connsiteX127" fmla="*/ 71662 w 1213200"/>
              <a:gd name="connsiteY127" fmla="*/ 484473 h 485482"/>
              <a:gd name="connsiteX128" fmla="*/ 61064 w 1213200"/>
              <a:gd name="connsiteY128" fmla="*/ 484473 h 485482"/>
              <a:gd name="connsiteX129" fmla="*/ 53999 w 1213200"/>
              <a:gd name="connsiteY129" fmla="*/ 463782 h 485482"/>
              <a:gd name="connsiteX130" fmla="*/ 18168 w 1213200"/>
              <a:gd name="connsiteY130" fmla="*/ 463782 h 485482"/>
              <a:gd name="connsiteX131" fmla="*/ 9589 w 1213200"/>
              <a:gd name="connsiteY131" fmla="*/ 484473 h 485482"/>
              <a:gd name="connsiteX132" fmla="*/ 0 w 1213200"/>
              <a:gd name="connsiteY132" fmla="*/ 484473 h 485482"/>
              <a:gd name="connsiteX133" fmla="*/ 793576 w 1213200"/>
              <a:gd name="connsiteY133" fmla="*/ 402718 h 485482"/>
              <a:gd name="connsiteX134" fmla="*/ 824613 w 1213200"/>
              <a:gd name="connsiteY134" fmla="*/ 431505 h 485482"/>
              <a:gd name="connsiteX135" fmla="*/ 824613 w 1213200"/>
              <a:gd name="connsiteY135" fmla="*/ 456695 h 485482"/>
              <a:gd name="connsiteX136" fmla="*/ 793576 w 1213200"/>
              <a:gd name="connsiteY136" fmla="*/ 485482 h 485482"/>
              <a:gd name="connsiteX137" fmla="*/ 762540 w 1213200"/>
              <a:gd name="connsiteY137" fmla="*/ 456695 h 485482"/>
              <a:gd name="connsiteX138" fmla="*/ 762540 w 1213200"/>
              <a:gd name="connsiteY138" fmla="*/ 431505 h 485482"/>
              <a:gd name="connsiteX139" fmla="*/ 793576 w 1213200"/>
              <a:gd name="connsiteY139" fmla="*/ 402718 h 485482"/>
              <a:gd name="connsiteX140" fmla="*/ 718476 w 1213200"/>
              <a:gd name="connsiteY140" fmla="*/ 402718 h 485482"/>
              <a:gd name="connsiteX141" fmla="*/ 748409 w 1213200"/>
              <a:gd name="connsiteY141" fmla="*/ 429107 h 485482"/>
              <a:gd name="connsiteX142" fmla="*/ 748409 w 1213200"/>
              <a:gd name="connsiteY142" fmla="*/ 430306 h 485482"/>
              <a:gd name="connsiteX143" fmla="*/ 738830 w 1213200"/>
              <a:gd name="connsiteY143" fmla="*/ 430306 h 485482"/>
              <a:gd name="connsiteX144" fmla="*/ 738830 w 1213200"/>
              <a:gd name="connsiteY144" fmla="*/ 429107 h 485482"/>
              <a:gd name="connsiteX145" fmla="*/ 718476 w 1213200"/>
              <a:gd name="connsiteY145" fmla="*/ 411114 h 485482"/>
              <a:gd name="connsiteX146" fmla="*/ 696924 w 1213200"/>
              <a:gd name="connsiteY146" fmla="*/ 431505 h 485482"/>
              <a:gd name="connsiteX147" fmla="*/ 696924 w 1213200"/>
              <a:gd name="connsiteY147" fmla="*/ 456695 h 485482"/>
              <a:gd name="connsiteX148" fmla="*/ 718476 w 1213200"/>
              <a:gd name="connsiteY148" fmla="*/ 477086 h 485482"/>
              <a:gd name="connsiteX149" fmla="*/ 738830 w 1213200"/>
              <a:gd name="connsiteY149" fmla="*/ 459093 h 485482"/>
              <a:gd name="connsiteX150" fmla="*/ 748409 w 1213200"/>
              <a:gd name="connsiteY150" fmla="*/ 459093 h 485482"/>
              <a:gd name="connsiteX151" fmla="*/ 718476 w 1213200"/>
              <a:gd name="connsiteY151" fmla="*/ 485482 h 485482"/>
              <a:gd name="connsiteX152" fmla="*/ 687345 w 1213200"/>
              <a:gd name="connsiteY152" fmla="*/ 456695 h 485482"/>
              <a:gd name="connsiteX153" fmla="*/ 687345 w 1213200"/>
              <a:gd name="connsiteY153" fmla="*/ 431505 h 485482"/>
              <a:gd name="connsiteX154" fmla="*/ 718476 w 1213200"/>
              <a:gd name="connsiteY154" fmla="*/ 402718 h 485482"/>
              <a:gd name="connsiteX155" fmla="*/ 450572 w 1213200"/>
              <a:gd name="connsiteY155" fmla="*/ 402718 h 485482"/>
              <a:gd name="connsiteX156" fmla="*/ 481445 w 1213200"/>
              <a:gd name="connsiteY156" fmla="*/ 429107 h 485482"/>
              <a:gd name="connsiteX157" fmla="*/ 481445 w 1213200"/>
              <a:gd name="connsiteY157" fmla="*/ 430306 h 485482"/>
              <a:gd name="connsiteX158" fmla="*/ 471946 w 1213200"/>
              <a:gd name="connsiteY158" fmla="*/ 430306 h 485482"/>
              <a:gd name="connsiteX159" fmla="*/ 471946 w 1213200"/>
              <a:gd name="connsiteY159" fmla="*/ 429107 h 485482"/>
              <a:gd name="connsiteX160" fmla="*/ 450572 w 1213200"/>
              <a:gd name="connsiteY160" fmla="*/ 411114 h 485482"/>
              <a:gd name="connsiteX161" fmla="*/ 430385 w 1213200"/>
              <a:gd name="connsiteY161" fmla="*/ 431505 h 485482"/>
              <a:gd name="connsiteX162" fmla="*/ 430385 w 1213200"/>
              <a:gd name="connsiteY162" fmla="*/ 456695 h 485482"/>
              <a:gd name="connsiteX163" fmla="*/ 450572 w 1213200"/>
              <a:gd name="connsiteY163" fmla="*/ 477086 h 485482"/>
              <a:gd name="connsiteX164" fmla="*/ 471946 w 1213200"/>
              <a:gd name="connsiteY164" fmla="*/ 459093 h 485482"/>
              <a:gd name="connsiteX165" fmla="*/ 481445 w 1213200"/>
              <a:gd name="connsiteY165" fmla="*/ 459093 h 485482"/>
              <a:gd name="connsiteX166" fmla="*/ 450572 w 1213200"/>
              <a:gd name="connsiteY166" fmla="*/ 485482 h 485482"/>
              <a:gd name="connsiteX167" fmla="*/ 420886 w 1213200"/>
              <a:gd name="connsiteY167" fmla="*/ 456695 h 485482"/>
              <a:gd name="connsiteX168" fmla="*/ 420886 w 1213200"/>
              <a:gd name="connsiteY168" fmla="*/ 431505 h 485482"/>
              <a:gd name="connsiteX169" fmla="*/ 450572 w 1213200"/>
              <a:gd name="connsiteY169" fmla="*/ 402718 h 485482"/>
              <a:gd name="connsiteX170" fmla="*/ 374364 w 1213200"/>
              <a:gd name="connsiteY170" fmla="*/ 402718 h 485482"/>
              <a:gd name="connsiteX171" fmla="*/ 403036 w 1213200"/>
              <a:gd name="connsiteY171" fmla="*/ 426708 h 485482"/>
              <a:gd name="connsiteX172" fmla="*/ 403036 w 1213200"/>
              <a:gd name="connsiteY172" fmla="*/ 427907 h 485482"/>
              <a:gd name="connsiteX173" fmla="*/ 393479 w 1213200"/>
              <a:gd name="connsiteY173" fmla="*/ 427907 h 485482"/>
              <a:gd name="connsiteX174" fmla="*/ 393479 w 1213200"/>
              <a:gd name="connsiteY174" fmla="*/ 426708 h 485482"/>
              <a:gd name="connsiteX175" fmla="*/ 374364 w 1213200"/>
              <a:gd name="connsiteY175" fmla="*/ 411114 h 485482"/>
              <a:gd name="connsiteX176" fmla="*/ 356443 w 1213200"/>
              <a:gd name="connsiteY176" fmla="*/ 424309 h 485482"/>
              <a:gd name="connsiteX177" fmla="*/ 368390 w 1213200"/>
              <a:gd name="connsiteY177" fmla="*/ 437503 h 485482"/>
              <a:gd name="connsiteX178" fmla="*/ 383921 w 1213200"/>
              <a:gd name="connsiteY178" fmla="*/ 441101 h 485482"/>
              <a:gd name="connsiteX179" fmla="*/ 404231 w 1213200"/>
              <a:gd name="connsiteY179" fmla="*/ 462692 h 485482"/>
              <a:gd name="connsiteX180" fmla="*/ 374364 w 1213200"/>
              <a:gd name="connsiteY180" fmla="*/ 485482 h 485482"/>
              <a:gd name="connsiteX181" fmla="*/ 345691 w 1213200"/>
              <a:gd name="connsiteY181" fmla="*/ 461492 h 485482"/>
              <a:gd name="connsiteX182" fmla="*/ 345691 w 1213200"/>
              <a:gd name="connsiteY182" fmla="*/ 460293 h 485482"/>
              <a:gd name="connsiteX183" fmla="*/ 355249 w 1213200"/>
              <a:gd name="connsiteY183" fmla="*/ 460293 h 485482"/>
              <a:gd name="connsiteX184" fmla="*/ 355249 w 1213200"/>
              <a:gd name="connsiteY184" fmla="*/ 461492 h 485482"/>
              <a:gd name="connsiteX185" fmla="*/ 374364 w 1213200"/>
              <a:gd name="connsiteY185" fmla="*/ 477086 h 485482"/>
              <a:gd name="connsiteX186" fmla="*/ 393479 w 1213200"/>
              <a:gd name="connsiteY186" fmla="*/ 462692 h 485482"/>
              <a:gd name="connsiteX187" fmla="*/ 381532 w 1213200"/>
              <a:gd name="connsiteY187" fmla="*/ 449498 h 485482"/>
              <a:gd name="connsiteX188" fmla="*/ 366001 w 1213200"/>
              <a:gd name="connsiteY188" fmla="*/ 447099 h 485482"/>
              <a:gd name="connsiteX189" fmla="*/ 346886 w 1213200"/>
              <a:gd name="connsiteY189" fmla="*/ 425508 h 485482"/>
              <a:gd name="connsiteX190" fmla="*/ 374364 w 1213200"/>
              <a:gd name="connsiteY190" fmla="*/ 402718 h 485482"/>
              <a:gd name="connsiteX191" fmla="*/ 221798 w 1213200"/>
              <a:gd name="connsiteY191" fmla="*/ 402718 h 485482"/>
              <a:gd name="connsiteX192" fmla="*/ 252834 w 1213200"/>
              <a:gd name="connsiteY192" fmla="*/ 431505 h 485482"/>
              <a:gd name="connsiteX193" fmla="*/ 252834 w 1213200"/>
              <a:gd name="connsiteY193" fmla="*/ 456695 h 485482"/>
              <a:gd name="connsiteX194" fmla="*/ 221798 w 1213200"/>
              <a:gd name="connsiteY194" fmla="*/ 485482 h 485482"/>
              <a:gd name="connsiteX195" fmla="*/ 190761 w 1213200"/>
              <a:gd name="connsiteY195" fmla="*/ 456695 h 485482"/>
              <a:gd name="connsiteX196" fmla="*/ 190761 w 1213200"/>
              <a:gd name="connsiteY196" fmla="*/ 431505 h 485482"/>
              <a:gd name="connsiteX197" fmla="*/ 221798 w 1213200"/>
              <a:gd name="connsiteY197" fmla="*/ 402718 h 485482"/>
              <a:gd name="connsiteX198" fmla="*/ 1049691 w 1213200"/>
              <a:gd name="connsiteY198" fmla="*/ 43905 h 485482"/>
              <a:gd name="connsiteX199" fmla="*/ 1049691 w 1213200"/>
              <a:gd name="connsiteY199" fmla="*/ 130202 h 485482"/>
              <a:gd name="connsiteX200" fmla="*/ 1114157 w 1213200"/>
              <a:gd name="connsiteY200" fmla="*/ 130202 h 485482"/>
              <a:gd name="connsiteX201" fmla="*/ 1160716 w 1213200"/>
              <a:gd name="connsiteY201" fmla="*/ 87054 h 485482"/>
              <a:gd name="connsiteX202" fmla="*/ 1114157 w 1213200"/>
              <a:gd name="connsiteY202" fmla="*/ 43905 h 485482"/>
              <a:gd name="connsiteX203" fmla="*/ 1049691 w 1213200"/>
              <a:gd name="connsiteY203" fmla="*/ 43905 h 485482"/>
              <a:gd name="connsiteX204" fmla="*/ 999729 w 1213200"/>
              <a:gd name="connsiteY204" fmla="*/ 0 h 485482"/>
              <a:gd name="connsiteX205" fmla="*/ 1115234 w 1213200"/>
              <a:gd name="connsiteY205" fmla="*/ 0 h 485482"/>
              <a:gd name="connsiteX206" fmla="*/ 1211686 w 1213200"/>
              <a:gd name="connsiteY206" fmla="*/ 87253 h 485482"/>
              <a:gd name="connsiteX207" fmla="*/ 1115234 w 1213200"/>
              <a:gd name="connsiteY207" fmla="*/ 173311 h 485482"/>
              <a:gd name="connsiteX208" fmla="*/ 1049741 w 1213200"/>
              <a:gd name="connsiteY208" fmla="*/ 173311 h 485482"/>
              <a:gd name="connsiteX209" fmla="*/ 1049741 w 1213200"/>
              <a:gd name="connsiteY209" fmla="*/ 295226 h 485482"/>
              <a:gd name="connsiteX210" fmla="*/ 999729 w 1213200"/>
              <a:gd name="connsiteY210" fmla="*/ 295226 h 485482"/>
              <a:gd name="connsiteX211" fmla="*/ 999729 w 1213200"/>
              <a:gd name="connsiteY211" fmla="*/ 0 h 485482"/>
              <a:gd name="connsiteX212" fmla="*/ 717625 w 1213200"/>
              <a:gd name="connsiteY212" fmla="*/ 0 h 485482"/>
              <a:gd name="connsiteX213" fmla="*/ 767586 w 1213200"/>
              <a:gd name="connsiteY213" fmla="*/ 0 h 485482"/>
              <a:gd name="connsiteX214" fmla="*/ 767586 w 1213200"/>
              <a:gd name="connsiteY214" fmla="*/ 129193 h 485482"/>
              <a:gd name="connsiteX215" fmla="*/ 893751 w 1213200"/>
              <a:gd name="connsiteY215" fmla="*/ 129193 h 485482"/>
              <a:gd name="connsiteX216" fmla="*/ 893751 w 1213200"/>
              <a:gd name="connsiteY216" fmla="*/ 0 h 485482"/>
              <a:gd name="connsiteX217" fmla="*/ 943712 w 1213200"/>
              <a:gd name="connsiteY217" fmla="*/ 0 h 485482"/>
              <a:gd name="connsiteX218" fmla="*/ 943712 w 1213200"/>
              <a:gd name="connsiteY218" fmla="*/ 295226 h 485482"/>
              <a:gd name="connsiteX219" fmla="*/ 893751 w 1213200"/>
              <a:gd name="connsiteY219" fmla="*/ 295226 h 485482"/>
              <a:gd name="connsiteX220" fmla="*/ 893751 w 1213200"/>
              <a:gd name="connsiteY220" fmla="*/ 173098 h 485482"/>
              <a:gd name="connsiteX221" fmla="*/ 767586 w 1213200"/>
              <a:gd name="connsiteY221" fmla="*/ 173098 h 485482"/>
              <a:gd name="connsiteX222" fmla="*/ 767586 w 1213200"/>
              <a:gd name="connsiteY222" fmla="*/ 295226 h 485482"/>
              <a:gd name="connsiteX223" fmla="*/ 717625 w 1213200"/>
              <a:gd name="connsiteY223" fmla="*/ 295226 h 485482"/>
              <a:gd name="connsiteX224" fmla="*/ 401708 w 1213200"/>
              <a:gd name="connsiteY224" fmla="*/ 0 h 485482"/>
              <a:gd name="connsiteX225" fmla="*/ 448137 w 1213200"/>
              <a:gd name="connsiteY225" fmla="*/ 0 h 485482"/>
              <a:gd name="connsiteX226" fmla="*/ 531405 w 1213200"/>
              <a:gd name="connsiteY226" fmla="*/ 135249 h 485482"/>
              <a:gd name="connsiteX227" fmla="*/ 616188 w 1213200"/>
              <a:gd name="connsiteY227" fmla="*/ 0 h 485482"/>
              <a:gd name="connsiteX228" fmla="*/ 661607 w 1213200"/>
              <a:gd name="connsiteY228" fmla="*/ 0 h 485482"/>
              <a:gd name="connsiteX229" fmla="*/ 661607 w 1213200"/>
              <a:gd name="connsiteY229" fmla="*/ 295226 h 485482"/>
              <a:gd name="connsiteX230" fmla="*/ 612655 w 1213200"/>
              <a:gd name="connsiteY230" fmla="*/ 295226 h 485482"/>
              <a:gd name="connsiteX231" fmla="*/ 612655 w 1213200"/>
              <a:gd name="connsiteY231" fmla="*/ 93362 h 485482"/>
              <a:gd name="connsiteX232" fmla="*/ 531405 w 1213200"/>
              <a:gd name="connsiteY232" fmla="*/ 221041 h 485482"/>
              <a:gd name="connsiteX233" fmla="*/ 451669 w 1213200"/>
              <a:gd name="connsiteY233" fmla="*/ 93362 h 485482"/>
              <a:gd name="connsiteX234" fmla="*/ 451669 w 1213200"/>
              <a:gd name="connsiteY234" fmla="*/ 295226 h 485482"/>
              <a:gd name="connsiteX235" fmla="*/ 401708 w 1213200"/>
              <a:gd name="connsiteY235" fmla="*/ 295226 h 485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1213200" h="485482">
                <a:moveTo>
                  <a:pt x="1022440" y="413820"/>
                </a:moveTo>
                <a:lnTo>
                  <a:pt x="1006795" y="455707"/>
                </a:lnTo>
                <a:lnTo>
                  <a:pt x="1038084" y="455707"/>
                </a:lnTo>
                <a:close/>
                <a:moveTo>
                  <a:pt x="35830" y="413820"/>
                </a:moveTo>
                <a:lnTo>
                  <a:pt x="20186" y="455707"/>
                </a:lnTo>
                <a:lnTo>
                  <a:pt x="51475" y="455707"/>
                </a:lnTo>
                <a:close/>
                <a:moveTo>
                  <a:pt x="942703" y="412306"/>
                </a:moveTo>
                <a:lnTo>
                  <a:pt x="942703" y="446118"/>
                </a:lnTo>
                <a:cubicBezTo>
                  <a:pt x="962906" y="446118"/>
                  <a:pt x="962906" y="446118"/>
                  <a:pt x="962906" y="446118"/>
                </a:cubicBezTo>
                <a:cubicBezTo>
                  <a:pt x="972413" y="446118"/>
                  <a:pt x="979543" y="441288"/>
                  <a:pt x="979543" y="429212"/>
                </a:cubicBezTo>
                <a:cubicBezTo>
                  <a:pt x="979543" y="417136"/>
                  <a:pt x="972413" y="412306"/>
                  <a:pt x="962906" y="412306"/>
                </a:cubicBezTo>
                <a:cubicBezTo>
                  <a:pt x="942703" y="412306"/>
                  <a:pt x="942703" y="412306"/>
                  <a:pt x="942703" y="412306"/>
                </a:cubicBezTo>
                <a:close/>
                <a:moveTo>
                  <a:pt x="281095" y="412306"/>
                </a:moveTo>
                <a:lnTo>
                  <a:pt x="281095" y="446118"/>
                </a:lnTo>
                <a:cubicBezTo>
                  <a:pt x="302669" y="446118"/>
                  <a:pt x="302669" y="446118"/>
                  <a:pt x="302669" y="446118"/>
                </a:cubicBezTo>
                <a:cubicBezTo>
                  <a:pt x="312258" y="446118"/>
                  <a:pt x="319449" y="441288"/>
                  <a:pt x="319449" y="429212"/>
                </a:cubicBezTo>
                <a:cubicBezTo>
                  <a:pt x="319449" y="417136"/>
                  <a:pt x="312258" y="412306"/>
                  <a:pt x="302669" y="412306"/>
                </a:cubicBezTo>
                <a:cubicBezTo>
                  <a:pt x="281095" y="412306"/>
                  <a:pt x="281095" y="412306"/>
                  <a:pt x="281095" y="412306"/>
                </a:cubicBezTo>
                <a:close/>
                <a:moveTo>
                  <a:pt x="132221" y="412306"/>
                </a:moveTo>
                <a:lnTo>
                  <a:pt x="132221" y="446118"/>
                </a:lnTo>
                <a:cubicBezTo>
                  <a:pt x="152525" y="446118"/>
                  <a:pt x="152525" y="446118"/>
                  <a:pt x="152525" y="446118"/>
                </a:cubicBezTo>
                <a:cubicBezTo>
                  <a:pt x="162080" y="446118"/>
                  <a:pt x="168052" y="441288"/>
                  <a:pt x="168052" y="429212"/>
                </a:cubicBezTo>
                <a:cubicBezTo>
                  <a:pt x="168052" y="417136"/>
                  <a:pt x="162080" y="412306"/>
                  <a:pt x="152525" y="412306"/>
                </a:cubicBezTo>
                <a:cubicBezTo>
                  <a:pt x="132221" y="412306"/>
                  <a:pt x="132221" y="412306"/>
                  <a:pt x="132221" y="412306"/>
                </a:cubicBezTo>
                <a:close/>
                <a:moveTo>
                  <a:pt x="793576" y="411297"/>
                </a:moveTo>
                <a:cubicBezTo>
                  <a:pt x="780469" y="411297"/>
                  <a:pt x="772128" y="418454"/>
                  <a:pt x="772128" y="431575"/>
                </a:cubicBezTo>
                <a:cubicBezTo>
                  <a:pt x="772128" y="456625"/>
                  <a:pt x="772128" y="456625"/>
                  <a:pt x="772128" y="456625"/>
                </a:cubicBezTo>
                <a:cubicBezTo>
                  <a:pt x="772128" y="469746"/>
                  <a:pt x="780469" y="476903"/>
                  <a:pt x="793576" y="476903"/>
                </a:cubicBezTo>
                <a:cubicBezTo>
                  <a:pt x="807875" y="476903"/>
                  <a:pt x="815024" y="469746"/>
                  <a:pt x="815024" y="456625"/>
                </a:cubicBezTo>
                <a:lnTo>
                  <a:pt x="815024" y="431575"/>
                </a:lnTo>
                <a:cubicBezTo>
                  <a:pt x="815024" y="418454"/>
                  <a:pt x="807875" y="411297"/>
                  <a:pt x="793576" y="411297"/>
                </a:cubicBezTo>
                <a:close/>
                <a:moveTo>
                  <a:pt x="221798" y="411297"/>
                </a:moveTo>
                <a:cubicBezTo>
                  <a:pt x="207499" y="411297"/>
                  <a:pt x="200350" y="418454"/>
                  <a:pt x="200350" y="431575"/>
                </a:cubicBezTo>
                <a:cubicBezTo>
                  <a:pt x="200350" y="456625"/>
                  <a:pt x="200350" y="456625"/>
                  <a:pt x="200350" y="456625"/>
                </a:cubicBezTo>
                <a:cubicBezTo>
                  <a:pt x="200350" y="469746"/>
                  <a:pt x="207499" y="476903"/>
                  <a:pt x="221798" y="476903"/>
                </a:cubicBezTo>
                <a:cubicBezTo>
                  <a:pt x="234905" y="476903"/>
                  <a:pt x="243246" y="469746"/>
                  <a:pt x="243246" y="456625"/>
                </a:cubicBezTo>
                <a:lnTo>
                  <a:pt x="243246" y="431575"/>
                </a:lnTo>
                <a:cubicBezTo>
                  <a:pt x="243246" y="418454"/>
                  <a:pt x="234905" y="411297"/>
                  <a:pt x="221798" y="411297"/>
                </a:cubicBezTo>
                <a:close/>
                <a:moveTo>
                  <a:pt x="1144062" y="404232"/>
                </a:moveTo>
                <a:lnTo>
                  <a:pt x="1154660" y="404232"/>
                </a:lnTo>
                <a:lnTo>
                  <a:pt x="1178379" y="443596"/>
                </a:lnTo>
                <a:lnTo>
                  <a:pt x="1201088" y="404232"/>
                </a:lnTo>
                <a:lnTo>
                  <a:pt x="1213200" y="404232"/>
                </a:lnTo>
                <a:lnTo>
                  <a:pt x="1183425" y="453184"/>
                </a:lnTo>
                <a:lnTo>
                  <a:pt x="1183425" y="484473"/>
                </a:lnTo>
                <a:lnTo>
                  <a:pt x="1173837" y="484473"/>
                </a:lnTo>
                <a:lnTo>
                  <a:pt x="1173837" y="453184"/>
                </a:lnTo>
                <a:close/>
                <a:moveTo>
                  <a:pt x="1071391" y="404232"/>
                </a:moveTo>
                <a:lnTo>
                  <a:pt x="1079466" y="404232"/>
                </a:lnTo>
                <a:lnTo>
                  <a:pt x="1121352" y="467315"/>
                </a:lnTo>
                <a:lnTo>
                  <a:pt x="1121352" y="404232"/>
                </a:lnTo>
                <a:lnTo>
                  <a:pt x="1130941" y="404232"/>
                </a:lnTo>
                <a:lnTo>
                  <a:pt x="1130941" y="484473"/>
                </a:lnTo>
                <a:lnTo>
                  <a:pt x="1122362" y="484473"/>
                </a:lnTo>
                <a:lnTo>
                  <a:pt x="1080980" y="420886"/>
                </a:lnTo>
                <a:lnTo>
                  <a:pt x="1080980" y="484473"/>
                </a:lnTo>
                <a:lnTo>
                  <a:pt x="1071391" y="484473"/>
                </a:lnTo>
                <a:close/>
                <a:moveTo>
                  <a:pt x="1017392" y="404232"/>
                </a:moveTo>
                <a:lnTo>
                  <a:pt x="1029504" y="404232"/>
                </a:lnTo>
                <a:lnTo>
                  <a:pt x="1058269" y="484473"/>
                </a:lnTo>
                <a:lnTo>
                  <a:pt x="1048681" y="484473"/>
                </a:lnTo>
                <a:lnTo>
                  <a:pt x="1040101" y="463782"/>
                </a:lnTo>
                <a:lnTo>
                  <a:pt x="1004271" y="463782"/>
                </a:lnTo>
                <a:lnTo>
                  <a:pt x="997205" y="484473"/>
                </a:lnTo>
                <a:lnTo>
                  <a:pt x="987617" y="484473"/>
                </a:lnTo>
                <a:close/>
                <a:moveTo>
                  <a:pt x="933114" y="404232"/>
                </a:moveTo>
                <a:cubicBezTo>
                  <a:pt x="962910" y="404232"/>
                  <a:pt x="962910" y="404232"/>
                  <a:pt x="962910" y="404232"/>
                </a:cubicBezTo>
                <a:cubicBezTo>
                  <a:pt x="978404" y="404232"/>
                  <a:pt x="989131" y="411418"/>
                  <a:pt x="989131" y="429382"/>
                </a:cubicBezTo>
                <a:cubicBezTo>
                  <a:pt x="989131" y="446149"/>
                  <a:pt x="978404" y="454532"/>
                  <a:pt x="962910" y="454532"/>
                </a:cubicBezTo>
                <a:cubicBezTo>
                  <a:pt x="942649" y="454532"/>
                  <a:pt x="942649" y="454532"/>
                  <a:pt x="942649" y="454532"/>
                </a:cubicBezTo>
                <a:cubicBezTo>
                  <a:pt x="942649" y="484473"/>
                  <a:pt x="942649" y="484473"/>
                  <a:pt x="942649" y="484473"/>
                </a:cubicBezTo>
                <a:cubicBezTo>
                  <a:pt x="933114" y="484473"/>
                  <a:pt x="933114" y="484473"/>
                  <a:pt x="933114" y="484473"/>
                </a:cubicBezTo>
                <a:close/>
                <a:moveTo>
                  <a:pt x="843790" y="404232"/>
                </a:moveTo>
                <a:lnTo>
                  <a:pt x="853378" y="404232"/>
                </a:lnTo>
                <a:lnTo>
                  <a:pt x="878107" y="452175"/>
                </a:lnTo>
                <a:lnTo>
                  <a:pt x="903340" y="404232"/>
                </a:lnTo>
                <a:lnTo>
                  <a:pt x="912928" y="404232"/>
                </a:lnTo>
                <a:lnTo>
                  <a:pt x="912928" y="484473"/>
                </a:lnTo>
                <a:lnTo>
                  <a:pt x="903340" y="484473"/>
                </a:lnTo>
                <a:lnTo>
                  <a:pt x="903340" y="423409"/>
                </a:lnTo>
                <a:lnTo>
                  <a:pt x="878107" y="469838"/>
                </a:lnTo>
                <a:lnTo>
                  <a:pt x="853378" y="423409"/>
                </a:lnTo>
                <a:lnTo>
                  <a:pt x="853378" y="484473"/>
                </a:lnTo>
                <a:lnTo>
                  <a:pt x="843790" y="484473"/>
                </a:lnTo>
                <a:close/>
                <a:moveTo>
                  <a:pt x="579348" y="404232"/>
                </a:moveTo>
                <a:lnTo>
                  <a:pt x="630319" y="404232"/>
                </a:lnTo>
                <a:lnTo>
                  <a:pt x="630319" y="412307"/>
                </a:lnTo>
                <a:lnTo>
                  <a:pt x="588937" y="412307"/>
                </a:lnTo>
                <a:lnTo>
                  <a:pt x="588937" y="440063"/>
                </a:lnTo>
                <a:lnTo>
                  <a:pt x="625777" y="440063"/>
                </a:lnTo>
                <a:lnTo>
                  <a:pt x="625777" y="448642"/>
                </a:lnTo>
                <a:lnTo>
                  <a:pt x="588937" y="448642"/>
                </a:lnTo>
                <a:lnTo>
                  <a:pt x="588937" y="475894"/>
                </a:lnTo>
                <a:lnTo>
                  <a:pt x="630319" y="475894"/>
                </a:lnTo>
                <a:lnTo>
                  <a:pt x="630319" y="484473"/>
                </a:lnTo>
                <a:lnTo>
                  <a:pt x="579348" y="484473"/>
                </a:lnTo>
                <a:close/>
                <a:moveTo>
                  <a:pt x="499108" y="404232"/>
                </a:moveTo>
                <a:lnTo>
                  <a:pt x="508696" y="404232"/>
                </a:lnTo>
                <a:lnTo>
                  <a:pt x="508696" y="440063"/>
                </a:lnTo>
                <a:lnTo>
                  <a:pt x="549574" y="440063"/>
                </a:lnTo>
                <a:lnTo>
                  <a:pt x="549574" y="404232"/>
                </a:lnTo>
                <a:lnTo>
                  <a:pt x="559162" y="404232"/>
                </a:lnTo>
                <a:lnTo>
                  <a:pt x="559162" y="484473"/>
                </a:lnTo>
                <a:lnTo>
                  <a:pt x="549574" y="484473"/>
                </a:lnTo>
                <a:lnTo>
                  <a:pt x="549574" y="448642"/>
                </a:lnTo>
                <a:lnTo>
                  <a:pt x="508696" y="448642"/>
                </a:lnTo>
                <a:lnTo>
                  <a:pt x="508696" y="484473"/>
                </a:lnTo>
                <a:lnTo>
                  <a:pt x="499108" y="484473"/>
                </a:lnTo>
                <a:close/>
                <a:moveTo>
                  <a:pt x="272011" y="404232"/>
                </a:moveTo>
                <a:cubicBezTo>
                  <a:pt x="302900" y="404232"/>
                  <a:pt x="302900" y="404232"/>
                  <a:pt x="302900" y="404232"/>
                </a:cubicBezTo>
                <a:cubicBezTo>
                  <a:pt x="318345" y="404232"/>
                  <a:pt x="329037" y="411418"/>
                  <a:pt x="329037" y="429382"/>
                </a:cubicBezTo>
                <a:cubicBezTo>
                  <a:pt x="329037" y="442556"/>
                  <a:pt x="323097" y="449742"/>
                  <a:pt x="313592" y="452137"/>
                </a:cubicBezTo>
                <a:cubicBezTo>
                  <a:pt x="329037" y="484473"/>
                  <a:pt x="329037" y="484473"/>
                  <a:pt x="329037" y="484473"/>
                </a:cubicBezTo>
                <a:cubicBezTo>
                  <a:pt x="318345" y="484473"/>
                  <a:pt x="318345" y="484473"/>
                  <a:pt x="318345" y="484473"/>
                </a:cubicBezTo>
                <a:cubicBezTo>
                  <a:pt x="304088" y="454532"/>
                  <a:pt x="304088" y="454532"/>
                  <a:pt x="304088" y="454532"/>
                </a:cubicBezTo>
                <a:cubicBezTo>
                  <a:pt x="281515" y="454532"/>
                  <a:pt x="281515" y="454532"/>
                  <a:pt x="281515" y="454532"/>
                </a:cubicBezTo>
                <a:cubicBezTo>
                  <a:pt x="281515" y="484473"/>
                  <a:pt x="281515" y="484473"/>
                  <a:pt x="281515" y="484473"/>
                </a:cubicBezTo>
                <a:cubicBezTo>
                  <a:pt x="272011" y="484473"/>
                  <a:pt x="272011" y="484473"/>
                  <a:pt x="272011" y="484473"/>
                </a:cubicBezTo>
                <a:close/>
                <a:moveTo>
                  <a:pt x="122632" y="404232"/>
                </a:moveTo>
                <a:cubicBezTo>
                  <a:pt x="152428" y="404232"/>
                  <a:pt x="152428" y="404232"/>
                  <a:pt x="152428" y="404232"/>
                </a:cubicBezTo>
                <a:cubicBezTo>
                  <a:pt x="167922" y="404232"/>
                  <a:pt x="178649" y="411418"/>
                  <a:pt x="178649" y="429382"/>
                </a:cubicBezTo>
                <a:cubicBezTo>
                  <a:pt x="178649" y="446149"/>
                  <a:pt x="167922" y="454532"/>
                  <a:pt x="152428" y="454532"/>
                </a:cubicBezTo>
                <a:cubicBezTo>
                  <a:pt x="132167" y="454532"/>
                  <a:pt x="132167" y="454532"/>
                  <a:pt x="132167" y="454532"/>
                </a:cubicBezTo>
                <a:cubicBezTo>
                  <a:pt x="132167" y="484473"/>
                  <a:pt x="132167" y="484473"/>
                  <a:pt x="132167" y="484473"/>
                </a:cubicBezTo>
                <a:cubicBezTo>
                  <a:pt x="122632" y="484473"/>
                  <a:pt x="122632" y="484473"/>
                  <a:pt x="122632" y="484473"/>
                </a:cubicBezTo>
                <a:close/>
                <a:moveTo>
                  <a:pt x="29775" y="404232"/>
                </a:moveTo>
                <a:lnTo>
                  <a:pt x="41887" y="404232"/>
                </a:lnTo>
                <a:lnTo>
                  <a:pt x="71662" y="484473"/>
                </a:lnTo>
                <a:lnTo>
                  <a:pt x="61064" y="484473"/>
                </a:lnTo>
                <a:lnTo>
                  <a:pt x="53999" y="463782"/>
                </a:lnTo>
                <a:lnTo>
                  <a:pt x="18168" y="463782"/>
                </a:lnTo>
                <a:lnTo>
                  <a:pt x="9589" y="484473"/>
                </a:lnTo>
                <a:lnTo>
                  <a:pt x="0" y="484473"/>
                </a:lnTo>
                <a:close/>
                <a:moveTo>
                  <a:pt x="793576" y="402718"/>
                </a:moveTo>
                <a:cubicBezTo>
                  <a:pt x="812676" y="402718"/>
                  <a:pt x="824613" y="413513"/>
                  <a:pt x="824613" y="431505"/>
                </a:cubicBezTo>
                <a:lnTo>
                  <a:pt x="824613" y="456695"/>
                </a:lnTo>
                <a:cubicBezTo>
                  <a:pt x="824613" y="474687"/>
                  <a:pt x="812676" y="485482"/>
                  <a:pt x="793576" y="485482"/>
                </a:cubicBezTo>
                <a:cubicBezTo>
                  <a:pt x="774477" y="485482"/>
                  <a:pt x="762540" y="474687"/>
                  <a:pt x="762540" y="456695"/>
                </a:cubicBezTo>
                <a:cubicBezTo>
                  <a:pt x="762540" y="431505"/>
                  <a:pt x="762540" y="431505"/>
                  <a:pt x="762540" y="431505"/>
                </a:cubicBezTo>
                <a:cubicBezTo>
                  <a:pt x="762540" y="413513"/>
                  <a:pt x="774477" y="402718"/>
                  <a:pt x="793576" y="402718"/>
                </a:cubicBezTo>
                <a:close/>
                <a:moveTo>
                  <a:pt x="718476" y="402718"/>
                </a:moveTo>
                <a:cubicBezTo>
                  <a:pt x="736436" y="402718"/>
                  <a:pt x="748409" y="412314"/>
                  <a:pt x="748409" y="429107"/>
                </a:cubicBezTo>
                <a:cubicBezTo>
                  <a:pt x="748409" y="430306"/>
                  <a:pt x="748409" y="430306"/>
                  <a:pt x="748409" y="430306"/>
                </a:cubicBezTo>
                <a:cubicBezTo>
                  <a:pt x="738830" y="430306"/>
                  <a:pt x="738830" y="430306"/>
                  <a:pt x="738830" y="430306"/>
                </a:cubicBezTo>
                <a:cubicBezTo>
                  <a:pt x="738830" y="429107"/>
                  <a:pt x="738830" y="429107"/>
                  <a:pt x="738830" y="429107"/>
                </a:cubicBezTo>
                <a:cubicBezTo>
                  <a:pt x="738830" y="418311"/>
                  <a:pt x="730449" y="411114"/>
                  <a:pt x="718476" y="411114"/>
                </a:cubicBezTo>
                <a:cubicBezTo>
                  <a:pt x="704108" y="411114"/>
                  <a:pt x="696924" y="418311"/>
                  <a:pt x="696924" y="431505"/>
                </a:cubicBezTo>
                <a:cubicBezTo>
                  <a:pt x="696924" y="456695"/>
                  <a:pt x="696924" y="456695"/>
                  <a:pt x="696924" y="456695"/>
                </a:cubicBezTo>
                <a:cubicBezTo>
                  <a:pt x="696924" y="469889"/>
                  <a:pt x="704108" y="477086"/>
                  <a:pt x="718476" y="477086"/>
                </a:cubicBezTo>
                <a:cubicBezTo>
                  <a:pt x="730449" y="477086"/>
                  <a:pt x="738830" y="471088"/>
                  <a:pt x="738830" y="459093"/>
                </a:cubicBezTo>
                <a:lnTo>
                  <a:pt x="748409" y="459093"/>
                </a:lnTo>
                <a:cubicBezTo>
                  <a:pt x="748409" y="475886"/>
                  <a:pt x="736436" y="485482"/>
                  <a:pt x="718476" y="485482"/>
                </a:cubicBezTo>
                <a:cubicBezTo>
                  <a:pt x="699318" y="485482"/>
                  <a:pt x="687345" y="474687"/>
                  <a:pt x="687345" y="456695"/>
                </a:cubicBezTo>
                <a:cubicBezTo>
                  <a:pt x="687345" y="431505"/>
                  <a:pt x="687345" y="431505"/>
                  <a:pt x="687345" y="431505"/>
                </a:cubicBezTo>
                <a:cubicBezTo>
                  <a:pt x="687345" y="413513"/>
                  <a:pt x="699318" y="402718"/>
                  <a:pt x="718476" y="402718"/>
                </a:cubicBezTo>
                <a:close/>
                <a:moveTo>
                  <a:pt x="450572" y="402718"/>
                </a:moveTo>
                <a:cubicBezTo>
                  <a:pt x="469571" y="402718"/>
                  <a:pt x="481445" y="412314"/>
                  <a:pt x="481445" y="429107"/>
                </a:cubicBezTo>
                <a:cubicBezTo>
                  <a:pt x="481445" y="430306"/>
                  <a:pt x="481445" y="430306"/>
                  <a:pt x="481445" y="430306"/>
                </a:cubicBezTo>
                <a:cubicBezTo>
                  <a:pt x="471946" y="430306"/>
                  <a:pt x="471946" y="430306"/>
                  <a:pt x="471946" y="430306"/>
                </a:cubicBezTo>
                <a:cubicBezTo>
                  <a:pt x="471946" y="429107"/>
                  <a:pt x="471946" y="429107"/>
                  <a:pt x="471946" y="429107"/>
                </a:cubicBezTo>
                <a:cubicBezTo>
                  <a:pt x="471946" y="418311"/>
                  <a:pt x="463634" y="411114"/>
                  <a:pt x="450572" y="411114"/>
                </a:cubicBezTo>
                <a:cubicBezTo>
                  <a:pt x="437510" y="411114"/>
                  <a:pt x="430385" y="418311"/>
                  <a:pt x="430385" y="431505"/>
                </a:cubicBezTo>
                <a:cubicBezTo>
                  <a:pt x="430385" y="456695"/>
                  <a:pt x="430385" y="456695"/>
                  <a:pt x="430385" y="456695"/>
                </a:cubicBezTo>
                <a:cubicBezTo>
                  <a:pt x="430385" y="469889"/>
                  <a:pt x="437510" y="477086"/>
                  <a:pt x="450572" y="477086"/>
                </a:cubicBezTo>
                <a:cubicBezTo>
                  <a:pt x="463634" y="477086"/>
                  <a:pt x="471946" y="471088"/>
                  <a:pt x="471946" y="459093"/>
                </a:cubicBezTo>
                <a:lnTo>
                  <a:pt x="481445" y="459093"/>
                </a:lnTo>
                <a:cubicBezTo>
                  <a:pt x="481445" y="475886"/>
                  <a:pt x="469571" y="485482"/>
                  <a:pt x="450572" y="485482"/>
                </a:cubicBezTo>
                <a:cubicBezTo>
                  <a:pt x="431573" y="485482"/>
                  <a:pt x="420886" y="474687"/>
                  <a:pt x="420886" y="456695"/>
                </a:cubicBezTo>
                <a:cubicBezTo>
                  <a:pt x="420886" y="431505"/>
                  <a:pt x="420886" y="431505"/>
                  <a:pt x="420886" y="431505"/>
                </a:cubicBezTo>
                <a:cubicBezTo>
                  <a:pt x="420886" y="413513"/>
                  <a:pt x="431573" y="402718"/>
                  <a:pt x="450572" y="402718"/>
                </a:cubicBezTo>
                <a:close/>
                <a:moveTo>
                  <a:pt x="374364" y="402718"/>
                </a:moveTo>
                <a:cubicBezTo>
                  <a:pt x="393479" y="402718"/>
                  <a:pt x="403036" y="411114"/>
                  <a:pt x="403036" y="426708"/>
                </a:cubicBezTo>
                <a:cubicBezTo>
                  <a:pt x="403036" y="427907"/>
                  <a:pt x="403036" y="427907"/>
                  <a:pt x="403036" y="427907"/>
                </a:cubicBezTo>
                <a:cubicBezTo>
                  <a:pt x="393479" y="427907"/>
                  <a:pt x="393479" y="427907"/>
                  <a:pt x="393479" y="427907"/>
                </a:cubicBezTo>
                <a:cubicBezTo>
                  <a:pt x="393479" y="426708"/>
                  <a:pt x="393479" y="426708"/>
                  <a:pt x="393479" y="426708"/>
                </a:cubicBezTo>
                <a:cubicBezTo>
                  <a:pt x="393479" y="415912"/>
                  <a:pt x="387505" y="411114"/>
                  <a:pt x="374364" y="411114"/>
                </a:cubicBezTo>
                <a:cubicBezTo>
                  <a:pt x="362417" y="411114"/>
                  <a:pt x="356443" y="415912"/>
                  <a:pt x="356443" y="424309"/>
                </a:cubicBezTo>
                <a:cubicBezTo>
                  <a:pt x="356443" y="432705"/>
                  <a:pt x="361222" y="436303"/>
                  <a:pt x="368390" y="437503"/>
                </a:cubicBezTo>
                <a:cubicBezTo>
                  <a:pt x="383921" y="441101"/>
                  <a:pt x="383921" y="441101"/>
                  <a:pt x="383921" y="441101"/>
                </a:cubicBezTo>
                <a:cubicBezTo>
                  <a:pt x="397063" y="443500"/>
                  <a:pt x="404231" y="450697"/>
                  <a:pt x="404231" y="462692"/>
                </a:cubicBezTo>
                <a:cubicBezTo>
                  <a:pt x="404231" y="478285"/>
                  <a:pt x="393479" y="485482"/>
                  <a:pt x="374364" y="485482"/>
                </a:cubicBezTo>
                <a:cubicBezTo>
                  <a:pt x="356443" y="485482"/>
                  <a:pt x="345691" y="477086"/>
                  <a:pt x="345691" y="461492"/>
                </a:cubicBezTo>
                <a:cubicBezTo>
                  <a:pt x="345691" y="460293"/>
                  <a:pt x="345691" y="460293"/>
                  <a:pt x="345691" y="460293"/>
                </a:cubicBezTo>
                <a:cubicBezTo>
                  <a:pt x="355249" y="460293"/>
                  <a:pt x="355249" y="460293"/>
                  <a:pt x="355249" y="460293"/>
                </a:cubicBezTo>
                <a:cubicBezTo>
                  <a:pt x="355249" y="461492"/>
                  <a:pt x="355249" y="461492"/>
                  <a:pt x="355249" y="461492"/>
                </a:cubicBezTo>
                <a:cubicBezTo>
                  <a:pt x="355249" y="472288"/>
                  <a:pt x="362417" y="477086"/>
                  <a:pt x="374364" y="477086"/>
                </a:cubicBezTo>
                <a:cubicBezTo>
                  <a:pt x="387505" y="477086"/>
                  <a:pt x="393479" y="472288"/>
                  <a:pt x="393479" y="462692"/>
                </a:cubicBezTo>
                <a:cubicBezTo>
                  <a:pt x="393479" y="455495"/>
                  <a:pt x="388700" y="450697"/>
                  <a:pt x="381532" y="449498"/>
                </a:cubicBezTo>
                <a:cubicBezTo>
                  <a:pt x="366001" y="447099"/>
                  <a:pt x="366001" y="447099"/>
                  <a:pt x="366001" y="447099"/>
                </a:cubicBezTo>
                <a:cubicBezTo>
                  <a:pt x="354054" y="444700"/>
                  <a:pt x="346886" y="437503"/>
                  <a:pt x="346886" y="425508"/>
                </a:cubicBezTo>
                <a:cubicBezTo>
                  <a:pt x="346886" y="411114"/>
                  <a:pt x="356443" y="402718"/>
                  <a:pt x="374364" y="402718"/>
                </a:cubicBezTo>
                <a:close/>
                <a:moveTo>
                  <a:pt x="221798" y="402718"/>
                </a:moveTo>
                <a:cubicBezTo>
                  <a:pt x="240897" y="402718"/>
                  <a:pt x="252834" y="413513"/>
                  <a:pt x="252834" y="431505"/>
                </a:cubicBezTo>
                <a:lnTo>
                  <a:pt x="252834" y="456695"/>
                </a:lnTo>
                <a:cubicBezTo>
                  <a:pt x="252834" y="474687"/>
                  <a:pt x="240897" y="485482"/>
                  <a:pt x="221798" y="485482"/>
                </a:cubicBezTo>
                <a:cubicBezTo>
                  <a:pt x="202698" y="485482"/>
                  <a:pt x="190761" y="474687"/>
                  <a:pt x="190761" y="456695"/>
                </a:cubicBezTo>
                <a:cubicBezTo>
                  <a:pt x="190761" y="431505"/>
                  <a:pt x="190761" y="431505"/>
                  <a:pt x="190761" y="431505"/>
                </a:cubicBezTo>
                <a:cubicBezTo>
                  <a:pt x="190761" y="413513"/>
                  <a:pt x="202698" y="402718"/>
                  <a:pt x="221798" y="402718"/>
                </a:cubicBezTo>
                <a:close/>
                <a:moveTo>
                  <a:pt x="1049691" y="43905"/>
                </a:moveTo>
                <a:cubicBezTo>
                  <a:pt x="1049691" y="43905"/>
                  <a:pt x="1049691" y="43905"/>
                  <a:pt x="1049691" y="130202"/>
                </a:cubicBezTo>
                <a:cubicBezTo>
                  <a:pt x="1049691" y="130202"/>
                  <a:pt x="1049691" y="130202"/>
                  <a:pt x="1114157" y="130202"/>
                </a:cubicBezTo>
                <a:cubicBezTo>
                  <a:pt x="1147584" y="130202"/>
                  <a:pt x="1160716" y="115819"/>
                  <a:pt x="1160716" y="87054"/>
                </a:cubicBezTo>
                <a:cubicBezTo>
                  <a:pt x="1160716" y="55891"/>
                  <a:pt x="1147584" y="43905"/>
                  <a:pt x="1114157" y="43905"/>
                </a:cubicBezTo>
                <a:cubicBezTo>
                  <a:pt x="1114157" y="43905"/>
                  <a:pt x="1114157" y="43905"/>
                  <a:pt x="1049691" y="43905"/>
                </a:cubicBezTo>
                <a:close/>
                <a:moveTo>
                  <a:pt x="999729" y="0"/>
                </a:moveTo>
                <a:cubicBezTo>
                  <a:pt x="999729" y="0"/>
                  <a:pt x="999729" y="0"/>
                  <a:pt x="1115234" y="0"/>
                </a:cubicBezTo>
                <a:cubicBezTo>
                  <a:pt x="1173581" y="0"/>
                  <a:pt x="1211686" y="23905"/>
                  <a:pt x="1211686" y="87253"/>
                </a:cubicBezTo>
                <a:cubicBezTo>
                  <a:pt x="1211686" y="145820"/>
                  <a:pt x="1174772" y="173311"/>
                  <a:pt x="1115234" y="173311"/>
                </a:cubicBezTo>
                <a:cubicBezTo>
                  <a:pt x="1115234" y="173311"/>
                  <a:pt x="1115234" y="173311"/>
                  <a:pt x="1049741" y="173311"/>
                </a:cubicBezTo>
                <a:cubicBezTo>
                  <a:pt x="1049741" y="173311"/>
                  <a:pt x="1049741" y="173311"/>
                  <a:pt x="1049741" y="295226"/>
                </a:cubicBezTo>
                <a:cubicBezTo>
                  <a:pt x="1049741" y="295226"/>
                  <a:pt x="1049741" y="295226"/>
                  <a:pt x="999729" y="295226"/>
                </a:cubicBezTo>
                <a:cubicBezTo>
                  <a:pt x="999729" y="295226"/>
                  <a:pt x="999729" y="295226"/>
                  <a:pt x="999729" y="0"/>
                </a:cubicBezTo>
                <a:close/>
                <a:moveTo>
                  <a:pt x="717625" y="0"/>
                </a:moveTo>
                <a:lnTo>
                  <a:pt x="767586" y="0"/>
                </a:lnTo>
                <a:lnTo>
                  <a:pt x="767586" y="129193"/>
                </a:lnTo>
                <a:lnTo>
                  <a:pt x="893751" y="129193"/>
                </a:lnTo>
                <a:lnTo>
                  <a:pt x="893751" y="0"/>
                </a:lnTo>
                <a:lnTo>
                  <a:pt x="943712" y="0"/>
                </a:lnTo>
                <a:lnTo>
                  <a:pt x="943712" y="295226"/>
                </a:lnTo>
                <a:lnTo>
                  <a:pt x="893751" y="295226"/>
                </a:lnTo>
                <a:lnTo>
                  <a:pt x="893751" y="173098"/>
                </a:lnTo>
                <a:lnTo>
                  <a:pt x="767586" y="173098"/>
                </a:lnTo>
                <a:lnTo>
                  <a:pt x="767586" y="295226"/>
                </a:lnTo>
                <a:lnTo>
                  <a:pt x="717625" y="295226"/>
                </a:lnTo>
                <a:close/>
                <a:moveTo>
                  <a:pt x="401708" y="0"/>
                </a:moveTo>
                <a:lnTo>
                  <a:pt x="448137" y="0"/>
                </a:lnTo>
                <a:lnTo>
                  <a:pt x="531405" y="135249"/>
                </a:lnTo>
                <a:lnTo>
                  <a:pt x="616188" y="0"/>
                </a:lnTo>
                <a:lnTo>
                  <a:pt x="661607" y="0"/>
                </a:lnTo>
                <a:lnTo>
                  <a:pt x="661607" y="295226"/>
                </a:lnTo>
                <a:lnTo>
                  <a:pt x="612655" y="295226"/>
                </a:lnTo>
                <a:lnTo>
                  <a:pt x="612655" y="93362"/>
                </a:lnTo>
                <a:lnTo>
                  <a:pt x="531405" y="221041"/>
                </a:lnTo>
                <a:lnTo>
                  <a:pt x="451669" y="93362"/>
                </a:lnTo>
                <a:lnTo>
                  <a:pt x="451669" y="295226"/>
                </a:lnTo>
                <a:lnTo>
                  <a:pt x="401708" y="295226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26" name="SmartArt-Platzhalter 300">
            <a:extLst>
              <a:ext uri="{FF2B5EF4-FFF2-40B4-BE49-F238E27FC236}">
                <a16:creationId xmlns:a16="http://schemas.microsoft.com/office/drawing/2014/main" id="{51165D2C-5A5F-4789-8BA5-A9051A54A96E}"/>
              </a:ext>
            </a:extLst>
          </p:cNvPr>
          <p:cNvSpPr>
            <a:spLocks noGrp="1"/>
          </p:cNvSpPr>
          <p:nvPr>
            <p:ph type="dgm" sz="quarter" idx="16"/>
          </p:nvPr>
        </p:nvSpPr>
        <p:spPr bwMode="gray">
          <a:xfrm>
            <a:off x="10567565" y="488304"/>
            <a:ext cx="291692" cy="295226"/>
          </a:xfrm>
          <a:custGeom>
            <a:avLst/>
            <a:gdLst>
              <a:gd name="connsiteX0" fmla="*/ 117585 w 291692"/>
              <a:gd name="connsiteY0" fmla="*/ 163510 h 295226"/>
              <a:gd name="connsiteX1" fmla="*/ 166537 w 291692"/>
              <a:gd name="connsiteY1" fmla="*/ 163510 h 295226"/>
              <a:gd name="connsiteX2" fmla="*/ 145341 w 291692"/>
              <a:gd name="connsiteY2" fmla="*/ 295226 h 295226"/>
              <a:gd name="connsiteX3" fmla="*/ 96389 w 291692"/>
              <a:gd name="connsiteY3" fmla="*/ 295226 h 295226"/>
              <a:gd name="connsiteX4" fmla="*/ 242740 w 291692"/>
              <a:gd name="connsiteY4" fmla="*/ 0 h 295226"/>
              <a:gd name="connsiteX5" fmla="*/ 291692 w 291692"/>
              <a:gd name="connsiteY5" fmla="*/ 0 h 295226"/>
              <a:gd name="connsiteX6" fmla="*/ 291692 w 291692"/>
              <a:gd name="connsiteY6" fmla="*/ 295226 h 295226"/>
              <a:gd name="connsiteX7" fmla="*/ 242740 w 291692"/>
              <a:gd name="connsiteY7" fmla="*/ 295226 h 295226"/>
              <a:gd name="connsiteX8" fmla="*/ 145341 w 291692"/>
              <a:gd name="connsiteY8" fmla="*/ 0 h 295226"/>
              <a:gd name="connsiteX9" fmla="*/ 193788 w 291692"/>
              <a:gd name="connsiteY9" fmla="*/ 0 h 295226"/>
              <a:gd name="connsiteX10" fmla="*/ 175116 w 291692"/>
              <a:gd name="connsiteY10" fmla="*/ 114558 h 295226"/>
              <a:gd name="connsiteX11" fmla="*/ 126164 w 291692"/>
              <a:gd name="connsiteY11" fmla="*/ 114558 h 295226"/>
              <a:gd name="connsiteX12" fmla="*/ 0 w 291692"/>
              <a:gd name="connsiteY12" fmla="*/ 0 h 295226"/>
              <a:gd name="connsiteX13" fmla="*/ 48447 w 291692"/>
              <a:gd name="connsiteY13" fmla="*/ 0 h 295226"/>
              <a:gd name="connsiteX14" fmla="*/ 48447 w 291692"/>
              <a:gd name="connsiteY14" fmla="*/ 295226 h 295226"/>
              <a:gd name="connsiteX15" fmla="*/ 0 w 291692"/>
              <a:gd name="connsiteY15" fmla="*/ 295226 h 2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91692" h="295226">
                <a:moveTo>
                  <a:pt x="117585" y="163510"/>
                </a:moveTo>
                <a:lnTo>
                  <a:pt x="166537" y="163510"/>
                </a:lnTo>
                <a:lnTo>
                  <a:pt x="145341" y="295226"/>
                </a:lnTo>
                <a:lnTo>
                  <a:pt x="96389" y="295226"/>
                </a:lnTo>
                <a:close/>
                <a:moveTo>
                  <a:pt x="242740" y="0"/>
                </a:moveTo>
                <a:lnTo>
                  <a:pt x="291692" y="0"/>
                </a:lnTo>
                <a:lnTo>
                  <a:pt x="291692" y="295226"/>
                </a:lnTo>
                <a:lnTo>
                  <a:pt x="242740" y="295226"/>
                </a:lnTo>
                <a:close/>
                <a:moveTo>
                  <a:pt x="145341" y="0"/>
                </a:moveTo>
                <a:lnTo>
                  <a:pt x="193788" y="0"/>
                </a:lnTo>
                <a:lnTo>
                  <a:pt x="175116" y="114558"/>
                </a:lnTo>
                <a:lnTo>
                  <a:pt x="126164" y="114558"/>
                </a:lnTo>
                <a:close/>
                <a:moveTo>
                  <a:pt x="0" y="0"/>
                </a:moveTo>
                <a:lnTo>
                  <a:pt x="48447" y="0"/>
                </a:lnTo>
                <a:lnTo>
                  <a:pt x="48447" y="295226"/>
                </a:lnTo>
                <a:lnTo>
                  <a:pt x="0" y="29522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90F6081F-44DE-4B0E-9EA8-5B5D147DBD0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989" y="2589213"/>
            <a:ext cx="5543549" cy="37925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82446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Fläch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Bildplatzhalter 41">
            <a:extLst>
              <a:ext uri="{FF2B5EF4-FFF2-40B4-BE49-F238E27FC236}">
                <a16:creationId xmlns:a16="http://schemas.microsoft.com/office/drawing/2014/main" id="{C0EFFCCB-7BD5-43EF-9084-2CBCD6F332E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 bwMode="gray">
          <a:xfrm>
            <a:off x="6245959" y="0"/>
            <a:ext cx="5946043" cy="6858000"/>
          </a:xfrm>
          <a:custGeom>
            <a:avLst/>
            <a:gdLst>
              <a:gd name="connsiteX0" fmla="*/ 1199851 w 5946043"/>
              <a:gd name="connsiteY0" fmla="*/ 0 h 6858000"/>
              <a:gd name="connsiteX1" fmla="*/ 1287952 w 5946043"/>
              <a:gd name="connsiteY1" fmla="*/ 0 h 6858000"/>
              <a:gd name="connsiteX2" fmla="*/ 1435012 w 5946043"/>
              <a:gd name="connsiteY2" fmla="*/ 0 h 6858000"/>
              <a:gd name="connsiteX3" fmla="*/ 1484852 w 5946043"/>
              <a:gd name="connsiteY3" fmla="*/ 0 h 6858000"/>
              <a:gd name="connsiteX4" fmla="*/ 1497368 w 5946043"/>
              <a:gd name="connsiteY4" fmla="*/ 0 h 6858000"/>
              <a:gd name="connsiteX5" fmla="*/ 1626717 w 5946043"/>
              <a:gd name="connsiteY5" fmla="*/ 0 h 6858000"/>
              <a:gd name="connsiteX6" fmla="*/ 1773777 w 5946043"/>
              <a:gd name="connsiteY6" fmla="*/ 0 h 6858000"/>
              <a:gd name="connsiteX7" fmla="*/ 1797093 w 5946043"/>
              <a:gd name="connsiteY7" fmla="*/ 0 h 6858000"/>
              <a:gd name="connsiteX8" fmla="*/ 1836133 w 5946043"/>
              <a:gd name="connsiteY8" fmla="*/ 0 h 6858000"/>
              <a:gd name="connsiteX9" fmla="*/ 2039501 w 5946043"/>
              <a:gd name="connsiteY9" fmla="*/ 0 h 6858000"/>
              <a:gd name="connsiteX10" fmla="*/ 2135858 w 5946043"/>
              <a:gd name="connsiteY10" fmla="*/ 0 h 6858000"/>
              <a:gd name="connsiteX11" fmla="*/ 2339226 w 5946043"/>
              <a:gd name="connsiteY11" fmla="*/ 0 h 6858000"/>
              <a:gd name="connsiteX12" fmla="*/ 2378266 w 5946043"/>
              <a:gd name="connsiteY12" fmla="*/ 0 h 6858000"/>
              <a:gd name="connsiteX13" fmla="*/ 2401582 w 5946043"/>
              <a:gd name="connsiteY13" fmla="*/ 0 h 6858000"/>
              <a:gd name="connsiteX14" fmla="*/ 2548642 w 5946043"/>
              <a:gd name="connsiteY14" fmla="*/ 0 h 6858000"/>
              <a:gd name="connsiteX15" fmla="*/ 2677991 w 5946043"/>
              <a:gd name="connsiteY15" fmla="*/ 0 h 6858000"/>
              <a:gd name="connsiteX16" fmla="*/ 2740347 w 5946043"/>
              <a:gd name="connsiteY16" fmla="*/ 0 h 6858000"/>
              <a:gd name="connsiteX17" fmla="*/ 2887407 w 5946043"/>
              <a:gd name="connsiteY17" fmla="*/ 0 h 6858000"/>
              <a:gd name="connsiteX18" fmla="*/ 3090775 w 5946043"/>
              <a:gd name="connsiteY18" fmla="*/ 0 h 6858000"/>
              <a:gd name="connsiteX19" fmla="*/ 3153131 w 5946043"/>
              <a:gd name="connsiteY19" fmla="*/ 0 h 6858000"/>
              <a:gd name="connsiteX20" fmla="*/ 3429540 w 5946043"/>
              <a:gd name="connsiteY20" fmla="*/ 0 h 6858000"/>
              <a:gd name="connsiteX21" fmla="*/ 3452856 w 5946043"/>
              <a:gd name="connsiteY21" fmla="*/ 0 h 6858000"/>
              <a:gd name="connsiteX22" fmla="*/ 3491896 w 5946043"/>
              <a:gd name="connsiteY22" fmla="*/ 0 h 6858000"/>
              <a:gd name="connsiteX23" fmla="*/ 3791621 w 5946043"/>
              <a:gd name="connsiteY23" fmla="*/ 0 h 6858000"/>
              <a:gd name="connsiteX24" fmla="*/ 3927963 w 5946043"/>
              <a:gd name="connsiteY24" fmla="*/ 0 h 6858000"/>
              <a:gd name="connsiteX25" fmla="*/ 4092598 w 5946043"/>
              <a:gd name="connsiteY25" fmla="*/ 0 h 6858000"/>
              <a:gd name="connsiteX26" fmla="*/ 4204405 w 5946043"/>
              <a:gd name="connsiteY26" fmla="*/ 0 h 6858000"/>
              <a:gd name="connsiteX27" fmla="*/ 4266728 w 5946043"/>
              <a:gd name="connsiteY27" fmla="*/ 0 h 6858000"/>
              <a:gd name="connsiteX28" fmla="*/ 4431363 w 5946043"/>
              <a:gd name="connsiteY28" fmla="*/ 0 h 6858000"/>
              <a:gd name="connsiteX29" fmla="*/ 4543170 w 5946043"/>
              <a:gd name="connsiteY29" fmla="*/ 0 h 6858000"/>
              <a:gd name="connsiteX30" fmla="*/ 4679512 w 5946043"/>
              <a:gd name="connsiteY30" fmla="*/ 0 h 6858000"/>
              <a:gd name="connsiteX31" fmla="*/ 4844147 w 5946043"/>
              <a:gd name="connsiteY31" fmla="*/ 0 h 6858000"/>
              <a:gd name="connsiteX32" fmla="*/ 4894769 w 5946043"/>
              <a:gd name="connsiteY32" fmla="*/ 0 h 6858000"/>
              <a:gd name="connsiteX33" fmla="*/ 4979237 w 5946043"/>
              <a:gd name="connsiteY33" fmla="*/ 0 h 6858000"/>
              <a:gd name="connsiteX34" fmla="*/ 5143872 w 5946043"/>
              <a:gd name="connsiteY34" fmla="*/ 0 h 6858000"/>
              <a:gd name="connsiteX35" fmla="*/ 5318002 w 5946043"/>
              <a:gd name="connsiteY35" fmla="*/ 0 h 6858000"/>
              <a:gd name="connsiteX36" fmla="*/ 5482637 w 5946043"/>
              <a:gd name="connsiteY36" fmla="*/ 0 h 6858000"/>
              <a:gd name="connsiteX37" fmla="*/ 5730786 w 5946043"/>
              <a:gd name="connsiteY37" fmla="*/ 0 h 6858000"/>
              <a:gd name="connsiteX38" fmla="*/ 5895421 w 5946043"/>
              <a:gd name="connsiteY38" fmla="*/ 0 h 6858000"/>
              <a:gd name="connsiteX39" fmla="*/ 5946043 w 5946043"/>
              <a:gd name="connsiteY39" fmla="*/ 0 h 6858000"/>
              <a:gd name="connsiteX40" fmla="*/ 5946043 w 5946043"/>
              <a:gd name="connsiteY40" fmla="*/ 6858000 h 6858000"/>
              <a:gd name="connsiteX41" fmla="*/ 5895421 w 5946043"/>
              <a:gd name="connsiteY41" fmla="*/ 6858000 h 6858000"/>
              <a:gd name="connsiteX42" fmla="*/ 5730786 w 5946043"/>
              <a:gd name="connsiteY42" fmla="*/ 6858000 h 6858000"/>
              <a:gd name="connsiteX43" fmla="*/ 5482637 w 5946043"/>
              <a:gd name="connsiteY43" fmla="*/ 6858000 h 6858000"/>
              <a:gd name="connsiteX44" fmla="*/ 5318002 w 5946043"/>
              <a:gd name="connsiteY44" fmla="*/ 6858000 h 6858000"/>
              <a:gd name="connsiteX45" fmla="*/ 5143872 w 5946043"/>
              <a:gd name="connsiteY45" fmla="*/ 6858000 h 6858000"/>
              <a:gd name="connsiteX46" fmla="*/ 4979237 w 5946043"/>
              <a:gd name="connsiteY46" fmla="*/ 6858000 h 6858000"/>
              <a:gd name="connsiteX47" fmla="*/ 4894769 w 5946043"/>
              <a:gd name="connsiteY47" fmla="*/ 6858000 h 6858000"/>
              <a:gd name="connsiteX48" fmla="*/ 4844147 w 5946043"/>
              <a:gd name="connsiteY48" fmla="*/ 6858000 h 6858000"/>
              <a:gd name="connsiteX49" fmla="*/ 4679512 w 5946043"/>
              <a:gd name="connsiteY49" fmla="*/ 6858000 h 6858000"/>
              <a:gd name="connsiteX50" fmla="*/ 4629390 w 5946043"/>
              <a:gd name="connsiteY50" fmla="*/ 6858000 h 6858000"/>
              <a:gd name="connsiteX51" fmla="*/ 4431363 w 5946043"/>
              <a:gd name="connsiteY51" fmla="*/ 6858000 h 6858000"/>
              <a:gd name="connsiteX52" fmla="*/ 4290625 w 5946043"/>
              <a:gd name="connsiteY52" fmla="*/ 6858000 h 6858000"/>
              <a:gd name="connsiteX53" fmla="*/ 4266728 w 5946043"/>
              <a:gd name="connsiteY53" fmla="*/ 6858000 h 6858000"/>
              <a:gd name="connsiteX54" fmla="*/ 4092598 w 5946043"/>
              <a:gd name="connsiteY54" fmla="*/ 6858000 h 6858000"/>
              <a:gd name="connsiteX55" fmla="*/ 3927963 w 5946043"/>
              <a:gd name="connsiteY55" fmla="*/ 6858000 h 6858000"/>
              <a:gd name="connsiteX56" fmla="*/ 3877841 w 5946043"/>
              <a:gd name="connsiteY56" fmla="*/ 6858000 h 6858000"/>
              <a:gd name="connsiteX57" fmla="*/ 3578116 w 5946043"/>
              <a:gd name="connsiteY57" fmla="*/ 6858000 h 6858000"/>
              <a:gd name="connsiteX58" fmla="*/ 3539076 w 5946043"/>
              <a:gd name="connsiteY58" fmla="*/ 6858000 h 6858000"/>
              <a:gd name="connsiteX59" fmla="*/ 3343320 w 5946043"/>
              <a:gd name="connsiteY59" fmla="*/ 6858000 h 6858000"/>
              <a:gd name="connsiteX60" fmla="*/ 3239351 w 5946043"/>
              <a:gd name="connsiteY60" fmla="*/ 6858000 h 6858000"/>
              <a:gd name="connsiteX61" fmla="*/ 3004555 w 5946043"/>
              <a:gd name="connsiteY61" fmla="*/ 6858000 h 6858000"/>
              <a:gd name="connsiteX62" fmla="*/ 2973627 w 5946043"/>
              <a:gd name="connsiteY62" fmla="*/ 6858000 h 6858000"/>
              <a:gd name="connsiteX63" fmla="*/ 2826567 w 5946043"/>
              <a:gd name="connsiteY63" fmla="*/ 6858000 h 6858000"/>
              <a:gd name="connsiteX64" fmla="*/ 2634862 w 5946043"/>
              <a:gd name="connsiteY64" fmla="*/ 6858000 h 6858000"/>
              <a:gd name="connsiteX65" fmla="*/ 2591771 w 5946043"/>
              <a:gd name="connsiteY65" fmla="*/ 6858000 h 6858000"/>
              <a:gd name="connsiteX66" fmla="*/ 2487802 w 5946043"/>
              <a:gd name="connsiteY66" fmla="*/ 6858000 h 6858000"/>
              <a:gd name="connsiteX67" fmla="*/ 2292046 w 5946043"/>
              <a:gd name="connsiteY67" fmla="*/ 6858000 h 6858000"/>
              <a:gd name="connsiteX68" fmla="*/ 2253006 w 5946043"/>
              <a:gd name="connsiteY68" fmla="*/ 6858000 h 6858000"/>
              <a:gd name="connsiteX69" fmla="*/ 2222078 w 5946043"/>
              <a:gd name="connsiteY69" fmla="*/ 6858000 h 6858000"/>
              <a:gd name="connsiteX70" fmla="*/ 1953281 w 5946043"/>
              <a:gd name="connsiteY70" fmla="*/ 6858000 h 6858000"/>
              <a:gd name="connsiteX71" fmla="*/ 1922353 w 5946043"/>
              <a:gd name="connsiteY71" fmla="*/ 6858000 h 6858000"/>
              <a:gd name="connsiteX72" fmla="*/ 1883313 w 5946043"/>
              <a:gd name="connsiteY72" fmla="*/ 6858000 h 6858000"/>
              <a:gd name="connsiteX73" fmla="*/ 1687557 w 5946043"/>
              <a:gd name="connsiteY73" fmla="*/ 6858000 h 6858000"/>
              <a:gd name="connsiteX74" fmla="*/ 1583588 w 5946043"/>
              <a:gd name="connsiteY74" fmla="*/ 6858000 h 6858000"/>
              <a:gd name="connsiteX75" fmla="*/ 1540497 w 5946043"/>
              <a:gd name="connsiteY75" fmla="*/ 6858000 h 6858000"/>
              <a:gd name="connsiteX76" fmla="*/ 1348792 w 5946043"/>
              <a:gd name="connsiteY76" fmla="*/ 6858000 h 6858000"/>
              <a:gd name="connsiteX77" fmla="*/ 1201732 w 5946043"/>
              <a:gd name="connsiteY77" fmla="*/ 6858000 h 6858000"/>
              <a:gd name="connsiteX78" fmla="*/ 1170804 w 5946043"/>
              <a:gd name="connsiteY78" fmla="*/ 6858000 h 6858000"/>
              <a:gd name="connsiteX79" fmla="*/ 936008 w 5946043"/>
              <a:gd name="connsiteY79" fmla="*/ 6858000 h 6858000"/>
              <a:gd name="connsiteX80" fmla="*/ 832039 w 5946043"/>
              <a:gd name="connsiteY80" fmla="*/ 6858000 h 6858000"/>
              <a:gd name="connsiteX81" fmla="*/ 636283 w 5946043"/>
              <a:gd name="connsiteY81" fmla="*/ 6858000 h 6858000"/>
              <a:gd name="connsiteX82" fmla="*/ 597243 w 5946043"/>
              <a:gd name="connsiteY82" fmla="*/ 6858000 h 6858000"/>
              <a:gd name="connsiteX83" fmla="*/ 297518 w 5946043"/>
              <a:gd name="connsiteY83" fmla="*/ 6858000 h 6858000"/>
              <a:gd name="connsiteX84" fmla="*/ 285002 w 5946043"/>
              <a:gd name="connsiteY84" fmla="*/ 6858000 h 6858000"/>
              <a:gd name="connsiteX85" fmla="*/ 0 w 5946043"/>
              <a:gd name="connsiteY8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5946043" h="6858000">
                <a:moveTo>
                  <a:pt x="1199851" y="0"/>
                </a:moveTo>
                <a:lnTo>
                  <a:pt x="1287952" y="0"/>
                </a:lnTo>
                <a:lnTo>
                  <a:pt x="1435012" y="0"/>
                </a:lnTo>
                <a:lnTo>
                  <a:pt x="1484852" y="0"/>
                </a:lnTo>
                <a:lnTo>
                  <a:pt x="1497368" y="0"/>
                </a:lnTo>
                <a:lnTo>
                  <a:pt x="1626717" y="0"/>
                </a:lnTo>
                <a:lnTo>
                  <a:pt x="1773777" y="0"/>
                </a:lnTo>
                <a:lnTo>
                  <a:pt x="1797093" y="0"/>
                </a:lnTo>
                <a:lnTo>
                  <a:pt x="1836133" y="0"/>
                </a:lnTo>
                <a:lnTo>
                  <a:pt x="2039501" y="0"/>
                </a:lnTo>
                <a:lnTo>
                  <a:pt x="2135858" y="0"/>
                </a:lnTo>
                <a:lnTo>
                  <a:pt x="2339226" y="0"/>
                </a:lnTo>
                <a:lnTo>
                  <a:pt x="2378266" y="0"/>
                </a:lnTo>
                <a:lnTo>
                  <a:pt x="2401582" y="0"/>
                </a:lnTo>
                <a:lnTo>
                  <a:pt x="2548642" y="0"/>
                </a:lnTo>
                <a:lnTo>
                  <a:pt x="2677991" y="0"/>
                </a:lnTo>
                <a:lnTo>
                  <a:pt x="2740347" y="0"/>
                </a:lnTo>
                <a:lnTo>
                  <a:pt x="2887407" y="0"/>
                </a:lnTo>
                <a:lnTo>
                  <a:pt x="3090775" y="0"/>
                </a:lnTo>
                <a:lnTo>
                  <a:pt x="3153131" y="0"/>
                </a:lnTo>
                <a:lnTo>
                  <a:pt x="3429540" y="0"/>
                </a:lnTo>
                <a:lnTo>
                  <a:pt x="3452856" y="0"/>
                </a:lnTo>
                <a:lnTo>
                  <a:pt x="3491896" y="0"/>
                </a:lnTo>
                <a:lnTo>
                  <a:pt x="3791621" y="0"/>
                </a:lnTo>
                <a:lnTo>
                  <a:pt x="3927963" y="0"/>
                </a:lnTo>
                <a:lnTo>
                  <a:pt x="4092598" y="0"/>
                </a:lnTo>
                <a:lnTo>
                  <a:pt x="4204405" y="0"/>
                </a:lnTo>
                <a:lnTo>
                  <a:pt x="4266728" y="0"/>
                </a:lnTo>
                <a:lnTo>
                  <a:pt x="4431363" y="0"/>
                </a:lnTo>
                <a:lnTo>
                  <a:pt x="4543170" y="0"/>
                </a:lnTo>
                <a:lnTo>
                  <a:pt x="4679512" y="0"/>
                </a:lnTo>
                <a:lnTo>
                  <a:pt x="4844147" y="0"/>
                </a:lnTo>
                <a:lnTo>
                  <a:pt x="4894769" y="0"/>
                </a:lnTo>
                <a:lnTo>
                  <a:pt x="4979237" y="0"/>
                </a:lnTo>
                <a:lnTo>
                  <a:pt x="5143872" y="0"/>
                </a:lnTo>
                <a:lnTo>
                  <a:pt x="5318002" y="0"/>
                </a:lnTo>
                <a:lnTo>
                  <a:pt x="5482637" y="0"/>
                </a:lnTo>
                <a:lnTo>
                  <a:pt x="5730786" y="0"/>
                </a:lnTo>
                <a:lnTo>
                  <a:pt x="5895421" y="0"/>
                </a:lnTo>
                <a:lnTo>
                  <a:pt x="5946043" y="0"/>
                </a:lnTo>
                <a:lnTo>
                  <a:pt x="5946043" y="6858000"/>
                </a:lnTo>
                <a:lnTo>
                  <a:pt x="5895421" y="6858000"/>
                </a:lnTo>
                <a:lnTo>
                  <a:pt x="5730786" y="6858000"/>
                </a:lnTo>
                <a:lnTo>
                  <a:pt x="5482637" y="6858000"/>
                </a:lnTo>
                <a:lnTo>
                  <a:pt x="5318002" y="6858000"/>
                </a:lnTo>
                <a:lnTo>
                  <a:pt x="5143872" y="6858000"/>
                </a:lnTo>
                <a:lnTo>
                  <a:pt x="4979237" y="6858000"/>
                </a:lnTo>
                <a:lnTo>
                  <a:pt x="4894769" y="6858000"/>
                </a:lnTo>
                <a:lnTo>
                  <a:pt x="4844147" y="6858000"/>
                </a:lnTo>
                <a:lnTo>
                  <a:pt x="4679512" y="6858000"/>
                </a:lnTo>
                <a:lnTo>
                  <a:pt x="4629390" y="6858000"/>
                </a:lnTo>
                <a:lnTo>
                  <a:pt x="4431363" y="6858000"/>
                </a:lnTo>
                <a:lnTo>
                  <a:pt x="4290625" y="6858000"/>
                </a:lnTo>
                <a:lnTo>
                  <a:pt x="4266728" y="6858000"/>
                </a:lnTo>
                <a:lnTo>
                  <a:pt x="4092598" y="6858000"/>
                </a:lnTo>
                <a:lnTo>
                  <a:pt x="3927963" y="6858000"/>
                </a:lnTo>
                <a:lnTo>
                  <a:pt x="3877841" y="6858000"/>
                </a:lnTo>
                <a:lnTo>
                  <a:pt x="3578116" y="6858000"/>
                </a:lnTo>
                <a:lnTo>
                  <a:pt x="3539076" y="6858000"/>
                </a:lnTo>
                <a:lnTo>
                  <a:pt x="3343320" y="6858000"/>
                </a:lnTo>
                <a:lnTo>
                  <a:pt x="3239351" y="6858000"/>
                </a:lnTo>
                <a:lnTo>
                  <a:pt x="3004555" y="6858000"/>
                </a:lnTo>
                <a:lnTo>
                  <a:pt x="2973627" y="6858000"/>
                </a:lnTo>
                <a:lnTo>
                  <a:pt x="2826567" y="6858000"/>
                </a:lnTo>
                <a:lnTo>
                  <a:pt x="2634862" y="6858000"/>
                </a:lnTo>
                <a:lnTo>
                  <a:pt x="2591771" y="6858000"/>
                </a:lnTo>
                <a:lnTo>
                  <a:pt x="2487802" y="6858000"/>
                </a:lnTo>
                <a:lnTo>
                  <a:pt x="2292046" y="6858000"/>
                </a:lnTo>
                <a:lnTo>
                  <a:pt x="2253006" y="6858000"/>
                </a:lnTo>
                <a:lnTo>
                  <a:pt x="2222078" y="6858000"/>
                </a:lnTo>
                <a:lnTo>
                  <a:pt x="1953281" y="6858000"/>
                </a:lnTo>
                <a:lnTo>
                  <a:pt x="1922353" y="6858000"/>
                </a:lnTo>
                <a:lnTo>
                  <a:pt x="1883313" y="6858000"/>
                </a:lnTo>
                <a:lnTo>
                  <a:pt x="1687557" y="6858000"/>
                </a:lnTo>
                <a:lnTo>
                  <a:pt x="1583588" y="6858000"/>
                </a:lnTo>
                <a:lnTo>
                  <a:pt x="1540497" y="6858000"/>
                </a:lnTo>
                <a:lnTo>
                  <a:pt x="1348792" y="6858000"/>
                </a:lnTo>
                <a:lnTo>
                  <a:pt x="1201732" y="6858000"/>
                </a:lnTo>
                <a:lnTo>
                  <a:pt x="1170804" y="6858000"/>
                </a:lnTo>
                <a:lnTo>
                  <a:pt x="936008" y="6858000"/>
                </a:lnTo>
                <a:lnTo>
                  <a:pt x="832039" y="6858000"/>
                </a:lnTo>
                <a:lnTo>
                  <a:pt x="636283" y="6858000"/>
                </a:lnTo>
                <a:lnTo>
                  <a:pt x="597243" y="6858000"/>
                </a:lnTo>
                <a:lnTo>
                  <a:pt x="297518" y="6858000"/>
                </a:lnTo>
                <a:lnTo>
                  <a:pt x="28500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/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21951E-D998-406D-8DA3-CD1E5D0FB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55C038-ADBC-4355-B701-93788356F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EEAC42-F94F-4D9A-8CB5-ED46D3DC3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E6297EE1-DFC3-468A-8F52-08EAE4BE2FB3}"/>
              </a:ext>
            </a:extLst>
          </p:cNvPr>
          <p:cNvGrpSpPr/>
          <p:nvPr userDrawn="1"/>
        </p:nvGrpSpPr>
        <p:grpSpPr bwMode="gray">
          <a:xfrm>
            <a:off x="10566602" y="490326"/>
            <a:ext cx="1214480" cy="484470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A0B9B0A7-1D49-434A-8734-1BC81061A5D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8" name="Rectangle 8">
              <a:extLst>
                <a:ext uri="{FF2B5EF4-FFF2-40B4-BE49-F238E27FC236}">
                  <a16:creationId xmlns:a16="http://schemas.microsoft.com/office/drawing/2014/main" id="{978CB17F-CB69-470F-A335-1B440A2B6DE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Rectangle 9">
              <a:extLst>
                <a:ext uri="{FF2B5EF4-FFF2-40B4-BE49-F238E27FC236}">
                  <a16:creationId xmlns:a16="http://schemas.microsoft.com/office/drawing/2014/main" id="{340DA9A0-A568-4A30-B979-6AD129666AE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40BB410A-6CDF-4DC3-9D87-57EE91A8F2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3ADFE1F7-E4E4-4676-83AD-77C64082A8E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DDA8BDF6-592A-4A7D-8C59-931BA0C1597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448E1A99-C33A-47DC-B31B-E55FC27E6FF2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6CB5841D-95F3-464A-B6E0-ED762FDB2737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59C0F1E1-50C6-4844-85DD-F693FB043E1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6D5DA6AE-8162-4769-84A6-535FC799A3D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0BBD9CB9-58C5-4CDA-93F1-B5713E5E446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id="{851E33C6-6949-43F7-9B95-F902EC40C11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19">
              <a:extLst>
                <a:ext uri="{FF2B5EF4-FFF2-40B4-BE49-F238E27FC236}">
                  <a16:creationId xmlns:a16="http://schemas.microsoft.com/office/drawing/2014/main" id="{B8BBB448-EC34-4024-839A-DDFD8789636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0">
              <a:extLst>
                <a:ext uri="{FF2B5EF4-FFF2-40B4-BE49-F238E27FC236}">
                  <a16:creationId xmlns:a16="http://schemas.microsoft.com/office/drawing/2014/main" id="{0C9C3BC7-8172-4E5F-A98B-B042438F272C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1">
              <a:extLst>
                <a:ext uri="{FF2B5EF4-FFF2-40B4-BE49-F238E27FC236}">
                  <a16:creationId xmlns:a16="http://schemas.microsoft.com/office/drawing/2014/main" id="{252528BA-97A5-458D-AB6A-06008C4ED4C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2">
              <a:extLst>
                <a:ext uri="{FF2B5EF4-FFF2-40B4-BE49-F238E27FC236}">
                  <a16:creationId xmlns:a16="http://schemas.microsoft.com/office/drawing/2014/main" id="{98AFCD07-9CD8-4906-B8B6-3598CB4556A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Freeform 23">
              <a:extLst>
                <a:ext uri="{FF2B5EF4-FFF2-40B4-BE49-F238E27FC236}">
                  <a16:creationId xmlns:a16="http://schemas.microsoft.com/office/drawing/2014/main" id="{F8DDEE6A-CED7-4FCD-A048-7ECE66BA4B39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Freeform 24">
              <a:extLst>
                <a:ext uri="{FF2B5EF4-FFF2-40B4-BE49-F238E27FC236}">
                  <a16:creationId xmlns:a16="http://schemas.microsoft.com/office/drawing/2014/main" id="{D0E345AE-B002-46F9-B14B-33D80B7EA28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25">
              <a:extLst>
                <a:ext uri="{FF2B5EF4-FFF2-40B4-BE49-F238E27FC236}">
                  <a16:creationId xmlns:a16="http://schemas.microsoft.com/office/drawing/2014/main" id="{1E80A287-9A1F-49DB-9861-D1C4FFDE2AD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1757E900-E22E-4D84-88DD-6A131F0C162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A1053C06-069D-45DF-B60E-DE64D83E3CA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28">
              <a:extLst>
                <a:ext uri="{FF2B5EF4-FFF2-40B4-BE49-F238E27FC236}">
                  <a16:creationId xmlns:a16="http://schemas.microsoft.com/office/drawing/2014/main" id="{BAAFB67F-DF15-406E-BFA6-BE655B144AF7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29">
              <a:extLst>
                <a:ext uri="{FF2B5EF4-FFF2-40B4-BE49-F238E27FC236}">
                  <a16:creationId xmlns:a16="http://schemas.microsoft.com/office/drawing/2014/main" id="{AD6871C5-C022-49F8-93C7-60AD1086DA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8" name="Titel 7">
            <a:extLst>
              <a:ext uri="{FF2B5EF4-FFF2-40B4-BE49-F238E27FC236}">
                <a16:creationId xmlns:a16="http://schemas.microsoft.com/office/drawing/2014/main" id="{0AF3E990-B13D-41D9-846A-0E24B3BFDA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9" y="404814"/>
            <a:ext cx="3600450" cy="79216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lientitel einfü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E6682B2-58C3-4744-98CC-164D60DB92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6401" y="1484313"/>
            <a:ext cx="3600450" cy="48974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699160D9-E783-4CBA-BF84-CF53219D947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419393" y="1484313"/>
            <a:ext cx="6358865" cy="4657522"/>
          </a:xfrm>
          <a:custGeom>
            <a:avLst/>
            <a:gdLst>
              <a:gd name="connsiteX0" fmla="*/ 814863 w 6358865"/>
              <a:gd name="connsiteY0" fmla="*/ 0 h 4657522"/>
              <a:gd name="connsiteX1" fmla="*/ 823801 w 6358865"/>
              <a:gd name="connsiteY1" fmla="*/ 0 h 4657522"/>
              <a:gd name="connsiteX2" fmla="*/ 1029039 w 6358865"/>
              <a:gd name="connsiteY2" fmla="*/ 0 h 4657522"/>
              <a:gd name="connsiteX3" fmla="*/ 1131431 w 6358865"/>
              <a:gd name="connsiteY3" fmla="*/ 0 h 4657522"/>
              <a:gd name="connsiteX4" fmla="*/ 1140369 w 6358865"/>
              <a:gd name="connsiteY4" fmla="*/ 0 h 4657522"/>
              <a:gd name="connsiteX5" fmla="*/ 1335523 w 6358865"/>
              <a:gd name="connsiteY5" fmla="*/ 0 h 4657522"/>
              <a:gd name="connsiteX6" fmla="*/ 1345606 w 6358865"/>
              <a:gd name="connsiteY6" fmla="*/ 0 h 4657522"/>
              <a:gd name="connsiteX7" fmla="*/ 1411720 w 6358865"/>
              <a:gd name="connsiteY7" fmla="*/ 0 h 4657522"/>
              <a:gd name="connsiteX8" fmla="*/ 1652091 w 6358865"/>
              <a:gd name="connsiteY8" fmla="*/ 0 h 4657522"/>
              <a:gd name="connsiteX9" fmla="*/ 1728288 w 6358865"/>
              <a:gd name="connsiteY9" fmla="*/ 0 h 4657522"/>
              <a:gd name="connsiteX10" fmla="*/ 1923442 w 6358865"/>
              <a:gd name="connsiteY10" fmla="*/ 0 h 4657522"/>
              <a:gd name="connsiteX11" fmla="*/ 2240010 w 6358865"/>
              <a:gd name="connsiteY11" fmla="*/ 0 h 4657522"/>
              <a:gd name="connsiteX12" fmla="*/ 4002680 w 6358865"/>
              <a:gd name="connsiteY12" fmla="*/ 0 h 4657522"/>
              <a:gd name="connsiteX13" fmla="*/ 4319248 w 6358865"/>
              <a:gd name="connsiteY13" fmla="*/ 0 h 4657522"/>
              <a:gd name="connsiteX14" fmla="*/ 4590599 w 6358865"/>
              <a:gd name="connsiteY14" fmla="*/ 0 h 4657522"/>
              <a:gd name="connsiteX15" fmla="*/ 4689243 w 6358865"/>
              <a:gd name="connsiteY15" fmla="*/ 0 h 4657522"/>
              <a:gd name="connsiteX16" fmla="*/ 4790259 w 6358865"/>
              <a:gd name="connsiteY16" fmla="*/ 0 h 4657522"/>
              <a:gd name="connsiteX17" fmla="*/ 4897084 w 6358865"/>
              <a:gd name="connsiteY17" fmla="*/ 0 h 4657522"/>
              <a:gd name="connsiteX18" fmla="*/ 4907167 w 6358865"/>
              <a:gd name="connsiteY18" fmla="*/ 0 h 4657522"/>
              <a:gd name="connsiteX19" fmla="*/ 5005811 w 6358865"/>
              <a:gd name="connsiteY19" fmla="*/ 0 h 4657522"/>
              <a:gd name="connsiteX20" fmla="*/ 5106827 w 6358865"/>
              <a:gd name="connsiteY20" fmla="*/ 0 h 4657522"/>
              <a:gd name="connsiteX21" fmla="*/ 5213652 w 6358865"/>
              <a:gd name="connsiteY21" fmla="*/ 0 h 4657522"/>
              <a:gd name="connsiteX22" fmla="*/ 5277162 w 6358865"/>
              <a:gd name="connsiteY22" fmla="*/ 0 h 4657522"/>
              <a:gd name="connsiteX23" fmla="*/ 5378178 w 6358865"/>
              <a:gd name="connsiteY23" fmla="*/ 0 h 4657522"/>
              <a:gd name="connsiteX24" fmla="*/ 5474244 w 6358865"/>
              <a:gd name="connsiteY24" fmla="*/ 0 h 4657522"/>
              <a:gd name="connsiteX25" fmla="*/ 5485003 w 6358865"/>
              <a:gd name="connsiteY25" fmla="*/ 0 h 4657522"/>
              <a:gd name="connsiteX26" fmla="*/ 5583647 w 6358865"/>
              <a:gd name="connsiteY26" fmla="*/ 0 h 4657522"/>
              <a:gd name="connsiteX27" fmla="*/ 5593730 w 6358865"/>
              <a:gd name="connsiteY27" fmla="*/ 0 h 4657522"/>
              <a:gd name="connsiteX28" fmla="*/ 5684663 w 6358865"/>
              <a:gd name="connsiteY28" fmla="*/ 0 h 4657522"/>
              <a:gd name="connsiteX29" fmla="*/ 5694746 w 6358865"/>
              <a:gd name="connsiteY29" fmla="*/ 0 h 4657522"/>
              <a:gd name="connsiteX30" fmla="*/ 5790812 w 6358865"/>
              <a:gd name="connsiteY30" fmla="*/ 0 h 4657522"/>
              <a:gd name="connsiteX31" fmla="*/ 5801571 w 6358865"/>
              <a:gd name="connsiteY31" fmla="*/ 0 h 4657522"/>
              <a:gd name="connsiteX32" fmla="*/ 5900215 w 6358865"/>
              <a:gd name="connsiteY32" fmla="*/ 0 h 4657522"/>
              <a:gd name="connsiteX33" fmla="*/ 6001231 w 6358865"/>
              <a:gd name="connsiteY33" fmla="*/ 0 h 4657522"/>
              <a:gd name="connsiteX34" fmla="*/ 6171566 w 6358865"/>
              <a:gd name="connsiteY34" fmla="*/ 0 h 4657522"/>
              <a:gd name="connsiteX35" fmla="*/ 6272582 w 6358865"/>
              <a:gd name="connsiteY35" fmla="*/ 0 h 4657522"/>
              <a:gd name="connsiteX36" fmla="*/ 6358865 w 6358865"/>
              <a:gd name="connsiteY36" fmla="*/ 0 h 4657522"/>
              <a:gd name="connsiteX37" fmla="*/ 5544002 w 6358865"/>
              <a:gd name="connsiteY37" fmla="*/ 4657522 h 4657522"/>
              <a:gd name="connsiteX38" fmla="*/ 5469204 w 6358865"/>
              <a:gd name="connsiteY38" fmla="*/ 4657522 h 4657522"/>
              <a:gd name="connsiteX39" fmla="*/ 5368188 w 6358865"/>
              <a:gd name="connsiteY39" fmla="*/ 4657522 h 4657522"/>
              <a:gd name="connsiteX40" fmla="*/ 5197853 w 6358865"/>
              <a:gd name="connsiteY40" fmla="*/ 4657522 h 4657522"/>
              <a:gd name="connsiteX41" fmla="*/ 5096837 w 6358865"/>
              <a:gd name="connsiteY41" fmla="*/ 4657522 h 4657522"/>
              <a:gd name="connsiteX42" fmla="*/ 5019810 w 6358865"/>
              <a:gd name="connsiteY42" fmla="*/ 4657522 h 4657522"/>
              <a:gd name="connsiteX43" fmla="*/ 4998193 w 6358865"/>
              <a:gd name="connsiteY43" fmla="*/ 4657522 h 4657522"/>
              <a:gd name="connsiteX44" fmla="*/ 4990012 w 6358865"/>
              <a:gd name="connsiteY44" fmla="*/ 4657522 h 4657522"/>
              <a:gd name="connsiteX45" fmla="*/ 4891368 w 6358865"/>
              <a:gd name="connsiteY45" fmla="*/ 4657522 h 4657522"/>
              <a:gd name="connsiteX46" fmla="*/ 4881285 w 6358865"/>
              <a:gd name="connsiteY46" fmla="*/ 4657522 h 4657522"/>
              <a:gd name="connsiteX47" fmla="*/ 4790352 w 6358865"/>
              <a:gd name="connsiteY47" fmla="*/ 4657522 h 4657522"/>
              <a:gd name="connsiteX48" fmla="*/ 4780269 w 6358865"/>
              <a:gd name="connsiteY48" fmla="*/ 4657522 h 4657522"/>
              <a:gd name="connsiteX49" fmla="*/ 4703242 w 6358865"/>
              <a:gd name="connsiteY49" fmla="*/ 4657522 h 4657522"/>
              <a:gd name="connsiteX50" fmla="*/ 4681625 w 6358865"/>
              <a:gd name="connsiteY50" fmla="*/ 4657522 h 4657522"/>
              <a:gd name="connsiteX51" fmla="*/ 4673444 w 6358865"/>
              <a:gd name="connsiteY51" fmla="*/ 4657522 h 4657522"/>
              <a:gd name="connsiteX52" fmla="*/ 4574800 w 6358865"/>
              <a:gd name="connsiteY52" fmla="*/ 4657522 h 4657522"/>
              <a:gd name="connsiteX53" fmla="*/ 4473784 w 6358865"/>
              <a:gd name="connsiteY53" fmla="*/ 4657522 h 4657522"/>
              <a:gd name="connsiteX54" fmla="*/ 4410274 w 6358865"/>
              <a:gd name="connsiteY54" fmla="*/ 4657522 h 4657522"/>
              <a:gd name="connsiteX55" fmla="*/ 4303449 w 6358865"/>
              <a:gd name="connsiteY55" fmla="*/ 4657522 h 4657522"/>
              <a:gd name="connsiteX56" fmla="*/ 4202433 w 6358865"/>
              <a:gd name="connsiteY56" fmla="*/ 4657522 h 4657522"/>
              <a:gd name="connsiteX57" fmla="*/ 4103789 w 6358865"/>
              <a:gd name="connsiteY57" fmla="*/ 4657522 h 4657522"/>
              <a:gd name="connsiteX58" fmla="*/ 4093706 w 6358865"/>
              <a:gd name="connsiteY58" fmla="*/ 4657522 h 4657522"/>
              <a:gd name="connsiteX59" fmla="*/ 3986881 w 6358865"/>
              <a:gd name="connsiteY59" fmla="*/ 4657522 h 4657522"/>
              <a:gd name="connsiteX60" fmla="*/ 3885865 w 6358865"/>
              <a:gd name="connsiteY60" fmla="*/ 4657522 h 4657522"/>
              <a:gd name="connsiteX61" fmla="*/ 3787221 w 6358865"/>
              <a:gd name="connsiteY61" fmla="*/ 4657522 h 4657522"/>
              <a:gd name="connsiteX62" fmla="*/ 3515870 w 6358865"/>
              <a:gd name="connsiteY62" fmla="*/ 4657522 h 4657522"/>
              <a:gd name="connsiteX63" fmla="*/ 3199302 w 6358865"/>
              <a:gd name="connsiteY63" fmla="*/ 4657522 h 4657522"/>
              <a:gd name="connsiteX64" fmla="*/ 1436632 w 6358865"/>
              <a:gd name="connsiteY64" fmla="*/ 4657522 h 4657522"/>
              <a:gd name="connsiteX65" fmla="*/ 1120064 w 6358865"/>
              <a:gd name="connsiteY65" fmla="*/ 4657522 h 4657522"/>
              <a:gd name="connsiteX66" fmla="*/ 957286 w 6358865"/>
              <a:gd name="connsiteY66" fmla="*/ 4657522 h 4657522"/>
              <a:gd name="connsiteX67" fmla="*/ 848713 w 6358865"/>
              <a:gd name="connsiteY67" fmla="*/ 4657522 h 4657522"/>
              <a:gd name="connsiteX68" fmla="*/ 640718 w 6358865"/>
              <a:gd name="connsiteY68" fmla="*/ 4657522 h 4657522"/>
              <a:gd name="connsiteX69" fmla="*/ 542228 w 6358865"/>
              <a:gd name="connsiteY69" fmla="*/ 4657522 h 4657522"/>
              <a:gd name="connsiteX70" fmla="*/ 532145 w 6358865"/>
              <a:gd name="connsiteY70" fmla="*/ 4657522 h 4657522"/>
              <a:gd name="connsiteX71" fmla="*/ 369367 w 6358865"/>
              <a:gd name="connsiteY71" fmla="*/ 4657522 h 4657522"/>
              <a:gd name="connsiteX72" fmla="*/ 316568 w 6358865"/>
              <a:gd name="connsiteY72" fmla="*/ 4657522 h 4657522"/>
              <a:gd name="connsiteX73" fmla="*/ 225661 w 6358865"/>
              <a:gd name="connsiteY73" fmla="*/ 4657522 h 4657522"/>
              <a:gd name="connsiteX74" fmla="*/ 52799 w 6358865"/>
              <a:gd name="connsiteY74" fmla="*/ 4657522 h 4657522"/>
              <a:gd name="connsiteX75" fmla="*/ 0 w 6358865"/>
              <a:gd name="connsiteY75" fmla="*/ 4657522 h 4657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6358865" h="4657522">
                <a:moveTo>
                  <a:pt x="814863" y="0"/>
                </a:moveTo>
                <a:lnTo>
                  <a:pt x="823801" y="0"/>
                </a:lnTo>
                <a:lnTo>
                  <a:pt x="1029039" y="0"/>
                </a:lnTo>
                <a:lnTo>
                  <a:pt x="1131431" y="0"/>
                </a:lnTo>
                <a:lnTo>
                  <a:pt x="1140369" y="0"/>
                </a:lnTo>
                <a:lnTo>
                  <a:pt x="1335523" y="0"/>
                </a:lnTo>
                <a:lnTo>
                  <a:pt x="1345606" y="0"/>
                </a:lnTo>
                <a:lnTo>
                  <a:pt x="1411720" y="0"/>
                </a:lnTo>
                <a:lnTo>
                  <a:pt x="1652091" y="0"/>
                </a:lnTo>
                <a:lnTo>
                  <a:pt x="1728288" y="0"/>
                </a:lnTo>
                <a:lnTo>
                  <a:pt x="1923442" y="0"/>
                </a:lnTo>
                <a:lnTo>
                  <a:pt x="2240010" y="0"/>
                </a:lnTo>
                <a:lnTo>
                  <a:pt x="4002680" y="0"/>
                </a:lnTo>
                <a:lnTo>
                  <a:pt x="4319248" y="0"/>
                </a:lnTo>
                <a:lnTo>
                  <a:pt x="4590599" y="0"/>
                </a:lnTo>
                <a:lnTo>
                  <a:pt x="4689243" y="0"/>
                </a:lnTo>
                <a:lnTo>
                  <a:pt x="4790259" y="0"/>
                </a:lnTo>
                <a:lnTo>
                  <a:pt x="4897084" y="0"/>
                </a:lnTo>
                <a:lnTo>
                  <a:pt x="4907167" y="0"/>
                </a:lnTo>
                <a:lnTo>
                  <a:pt x="5005811" y="0"/>
                </a:lnTo>
                <a:lnTo>
                  <a:pt x="5106827" y="0"/>
                </a:lnTo>
                <a:lnTo>
                  <a:pt x="5213652" y="0"/>
                </a:lnTo>
                <a:lnTo>
                  <a:pt x="5277162" y="0"/>
                </a:lnTo>
                <a:lnTo>
                  <a:pt x="5378178" y="0"/>
                </a:lnTo>
                <a:lnTo>
                  <a:pt x="5474244" y="0"/>
                </a:lnTo>
                <a:lnTo>
                  <a:pt x="5485003" y="0"/>
                </a:lnTo>
                <a:lnTo>
                  <a:pt x="5583647" y="0"/>
                </a:lnTo>
                <a:lnTo>
                  <a:pt x="5593730" y="0"/>
                </a:lnTo>
                <a:lnTo>
                  <a:pt x="5684663" y="0"/>
                </a:lnTo>
                <a:lnTo>
                  <a:pt x="5694746" y="0"/>
                </a:lnTo>
                <a:lnTo>
                  <a:pt x="5790812" y="0"/>
                </a:lnTo>
                <a:lnTo>
                  <a:pt x="5801571" y="0"/>
                </a:lnTo>
                <a:lnTo>
                  <a:pt x="5900215" y="0"/>
                </a:lnTo>
                <a:lnTo>
                  <a:pt x="6001231" y="0"/>
                </a:lnTo>
                <a:lnTo>
                  <a:pt x="6171566" y="0"/>
                </a:lnTo>
                <a:lnTo>
                  <a:pt x="6272582" y="0"/>
                </a:lnTo>
                <a:lnTo>
                  <a:pt x="6358865" y="0"/>
                </a:lnTo>
                <a:lnTo>
                  <a:pt x="5544002" y="4657522"/>
                </a:lnTo>
                <a:lnTo>
                  <a:pt x="5469204" y="4657522"/>
                </a:lnTo>
                <a:lnTo>
                  <a:pt x="5368188" y="4657522"/>
                </a:lnTo>
                <a:lnTo>
                  <a:pt x="5197853" y="4657522"/>
                </a:lnTo>
                <a:lnTo>
                  <a:pt x="5096837" y="4657522"/>
                </a:lnTo>
                <a:lnTo>
                  <a:pt x="5019810" y="4657522"/>
                </a:lnTo>
                <a:lnTo>
                  <a:pt x="4998193" y="4657522"/>
                </a:lnTo>
                <a:lnTo>
                  <a:pt x="4990012" y="4657522"/>
                </a:lnTo>
                <a:lnTo>
                  <a:pt x="4891368" y="4657522"/>
                </a:lnTo>
                <a:lnTo>
                  <a:pt x="4881285" y="4657522"/>
                </a:lnTo>
                <a:lnTo>
                  <a:pt x="4790352" y="4657522"/>
                </a:lnTo>
                <a:lnTo>
                  <a:pt x="4780269" y="4657522"/>
                </a:lnTo>
                <a:lnTo>
                  <a:pt x="4703242" y="4657522"/>
                </a:lnTo>
                <a:lnTo>
                  <a:pt x="4681625" y="4657522"/>
                </a:lnTo>
                <a:lnTo>
                  <a:pt x="4673444" y="4657522"/>
                </a:lnTo>
                <a:lnTo>
                  <a:pt x="4574800" y="4657522"/>
                </a:lnTo>
                <a:lnTo>
                  <a:pt x="4473784" y="4657522"/>
                </a:lnTo>
                <a:lnTo>
                  <a:pt x="4410274" y="4657522"/>
                </a:lnTo>
                <a:lnTo>
                  <a:pt x="4303449" y="4657522"/>
                </a:lnTo>
                <a:lnTo>
                  <a:pt x="4202433" y="4657522"/>
                </a:lnTo>
                <a:lnTo>
                  <a:pt x="4103789" y="4657522"/>
                </a:lnTo>
                <a:lnTo>
                  <a:pt x="4093706" y="4657522"/>
                </a:lnTo>
                <a:lnTo>
                  <a:pt x="3986881" y="4657522"/>
                </a:lnTo>
                <a:lnTo>
                  <a:pt x="3885865" y="4657522"/>
                </a:lnTo>
                <a:lnTo>
                  <a:pt x="3787221" y="4657522"/>
                </a:lnTo>
                <a:lnTo>
                  <a:pt x="3515870" y="4657522"/>
                </a:lnTo>
                <a:lnTo>
                  <a:pt x="3199302" y="4657522"/>
                </a:lnTo>
                <a:lnTo>
                  <a:pt x="1436632" y="4657522"/>
                </a:lnTo>
                <a:lnTo>
                  <a:pt x="1120064" y="4657522"/>
                </a:lnTo>
                <a:lnTo>
                  <a:pt x="957286" y="4657522"/>
                </a:lnTo>
                <a:lnTo>
                  <a:pt x="848713" y="4657522"/>
                </a:lnTo>
                <a:lnTo>
                  <a:pt x="640718" y="4657522"/>
                </a:lnTo>
                <a:lnTo>
                  <a:pt x="542228" y="4657522"/>
                </a:lnTo>
                <a:lnTo>
                  <a:pt x="532145" y="4657522"/>
                </a:lnTo>
                <a:lnTo>
                  <a:pt x="369367" y="4657522"/>
                </a:lnTo>
                <a:lnTo>
                  <a:pt x="316568" y="4657522"/>
                </a:lnTo>
                <a:lnTo>
                  <a:pt x="225661" y="4657522"/>
                </a:lnTo>
                <a:lnTo>
                  <a:pt x="52799" y="4657522"/>
                </a:lnTo>
                <a:lnTo>
                  <a:pt x="0" y="4657522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</p:spTree>
    <p:extLst>
      <p:ext uri="{BB962C8B-B14F-4D97-AF65-F5344CB8AC3E}">
        <p14:creationId xmlns:p14="http://schemas.microsoft.com/office/powerpoint/2010/main" val="3772712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2FC7ED18-6D6B-4BF0-A317-42EEB6739CA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649509" y="3490182"/>
            <a:ext cx="3589717" cy="3367817"/>
          </a:xfrm>
          <a:custGeom>
            <a:avLst/>
            <a:gdLst>
              <a:gd name="connsiteX0" fmla="*/ 589221 w 3589717"/>
              <a:gd name="connsiteY0" fmla="*/ 0 h 3367817"/>
              <a:gd name="connsiteX1" fmla="*/ 595684 w 3589717"/>
              <a:gd name="connsiteY1" fmla="*/ 0 h 3367817"/>
              <a:gd name="connsiteX2" fmla="*/ 744090 w 3589717"/>
              <a:gd name="connsiteY2" fmla="*/ 0 h 3367817"/>
              <a:gd name="connsiteX3" fmla="*/ 818129 w 3589717"/>
              <a:gd name="connsiteY3" fmla="*/ 0 h 3367817"/>
              <a:gd name="connsiteX4" fmla="*/ 824592 w 3589717"/>
              <a:gd name="connsiteY4" fmla="*/ 0 h 3367817"/>
              <a:gd name="connsiteX5" fmla="*/ 965706 w 3589717"/>
              <a:gd name="connsiteY5" fmla="*/ 0 h 3367817"/>
              <a:gd name="connsiteX6" fmla="*/ 972997 w 3589717"/>
              <a:gd name="connsiteY6" fmla="*/ 0 h 3367817"/>
              <a:gd name="connsiteX7" fmla="*/ 1020804 w 3589717"/>
              <a:gd name="connsiteY7" fmla="*/ 0 h 3367817"/>
              <a:gd name="connsiteX8" fmla="*/ 1194614 w 3589717"/>
              <a:gd name="connsiteY8" fmla="*/ 0 h 3367817"/>
              <a:gd name="connsiteX9" fmla="*/ 1249712 w 3589717"/>
              <a:gd name="connsiteY9" fmla="*/ 0 h 3367817"/>
              <a:gd name="connsiteX10" fmla="*/ 1390826 w 3589717"/>
              <a:gd name="connsiteY10" fmla="*/ 0 h 3367817"/>
              <a:gd name="connsiteX11" fmla="*/ 1619734 w 3589717"/>
              <a:gd name="connsiteY11" fmla="*/ 0 h 3367817"/>
              <a:gd name="connsiteX12" fmla="*/ 2894306 w 3589717"/>
              <a:gd name="connsiteY12" fmla="*/ 0 h 3367817"/>
              <a:gd name="connsiteX13" fmla="*/ 3123214 w 3589717"/>
              <a:gd name="connsiteY13" fmla="*/ 0 h 3367817"/>
              <a:gd name="connsiteX14" fmla="*/ 3319426 w 3589717"/>
              <a:gd name="connsiteY14" fmla="*/ 0 h 3367817"/>
              <a:gd name="connsiteX15" fmla="*/ 3390755 w 3589717"/>
              <a:gd name="connsiteY15" fmla="*/ 0 h 3367817"/>
              <a:gd name="connsiteX16" fmla="*/ 3463799 w 3589717"/>
              <a:gd name="connsiteY16" fmla="*/ 0 h 3367817"/>
              <a:gd name="connsiteX17" fmla="*/ 3541043 w 3589717"/>
              <a:gd name="connsiteY17" fmla="*/ 0 h 3367817"/>
              <a:gd name="connsiteX18" fmla="*/ 3548334 w 3589717"/>
              <a:gd name="connsiteY18" fmla="*/ 0 h 3367817"/>
              <a:gd name="connsiteX19" fmla="*/ 3589717 w 3589717"/>
              <a:gd name="connsiteY19" fmla="*/ 0 h 3367817"/>
              <a:gd name="connsiteX20" fmla="*/ 3000496 w 3589717"/>
              <a:gd name="connsiteY20" fmla="*/ 3367817 h 3367817"/>
              <a:gd name="connsiteX21" fmla="*/ 2967417 w 3589717"/>
              <a:gd name="connsiteY21" fmla="*/ 3367817 h 3367817"/>
              <a:gd name="connsiteX22" fmla="*/ 2960127 w 3589717"/>
              <a:gd name="connsiteY22" fmla="*/ 3367817 h 3367817"/>
              <a:gd name="connsiteX23" fmla="*/ 2882882 w 3589717"/>
              <a:gd name="connsiteY23" fmla="*/ 3367817 h 3367817"/>
              <a:gd name="connsiteX24" fmla="*/ 2809838 w 3589717"/>
              <a:gd name="connsiteY24" fmla="*/ 3367817 h 3367817"/>
              <a:gd name="connsiteX25" fmla="*/ 2738509 w 3589717"/>
              <a:gd name="connsiteY25" fmla="*/ 3367817 h 3367817"/>
              <a:gd name="connsiteX26" fmla="*/ 2542298 w 3589717"/>
              <a:gd name="connsiteY26" fmla="*/ 3367817 h 3367817"/>
              <a:gd name="connsiteX27" fmla="*/ 2313390 w 3589717"/>
              <a:gd name="connsiteY27" fmla="*/ 3367817 h 3367817"/>
              <a:gd name="connsiteX28" fmla="*/ 1038817 w 3589717"/>
              <a:gd name="connsiteY28" fmla="*/ 3367817 h 3367817"/>
              <a:gd name="connsiteX29" fmla="*/ 809910 w 3589717"/>
              <a:gd name="connsiteY29" fmla="*/ 3367817 h 3367817"/>
              <a:gd name="connsiteX30" fmla="*/ 692206 w 3589717"/>
              <a:gd name="connsiteY30" fmla="*/ 3367817 h 3367817"/>
              <a:gd name="connsiteX31" fmla="*/ 613698 w 3589717"/>
              <a:gd name="connsiteY31" fmla="*/ 3367817 h 3367817"/>
              <a:gd name="connsiteX32" fmla="*/ 463298 w 3589717"/>
              <a:gd name="connsiteY32" fmla="*/ 3367817 h 3367817"/>
              <a:gd name="connsiteX33" fmla="*/ 392081 w 3589717"/>
              <a:gd name="connsiteY33" fmla="*/ 3367817 h 3367817"/>
              <a:gd name="connsiteX34" fmla="*/ 384790 w 3589717"/>
              <a:gd name="connsiteY34" fmla="*/ 3367817 h 3367817"/>
              <a:gd name="connsiteX35" fmla="*/ 267087 w 3589717"/>
              <a:gd name="connsiteY35" fmla="*/ 3367817 h 3367817"/>
              <a:gd name="connsiteX36" fmla="*/ 228908 w 3589717"/>
              <a:gd name="connsiteY36" fmla="*/ 3367817 h 3367817"/>
              <a:gd name="connsiteX37" fmla="*/ 163174 w 3589717"/>
              <a:gd name="connsiteY37" fmla="*/ 3367817 h 3367817"/>
              <a:gd name="connsiteX38" fmla="*/ 38179 w 3589717"/>
              <a:gd name="connsiteY38" fmla="*/ 3367817 h 3367817"/>
              <a:gd name="connsiteX39" fmla="*/ 0 w 3589717"/>
              <a:gd name="connsiteY39" fmla="*/ 3367817 h 3367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3589717" h="3367817">
                <a:moveTo>
                  <a:pt x="589221" y="0"/>
                </a:moveTo>
                <a:lnTo>
                  <a:pt x="595684" y="0"/>
                </a:lnTo>
                <a:lnTo>
                  <a:pt x="744090" y="0"/>
                </a:lnTo>
                <a:lnTo>
                  <a:pt x="818129" y="0"/>
                </a:lnTo>
                <a:lnTo>
                  <a:pt x="824592" y="0"/>
                </a:lnTo>
                <a:lnTo>
                  <a:pt x="965706" y="0"/>
                </a:lnTo>
                <a:lnTo>
                  <a:pt x="972997" y="0"/>
                </a:lnTo>
                <a:lnTo>
                  <a:pt x="1020804" y="0"/>
                </a:lnTo>
                <a:lnTo>
                  <a:pt x="1194614" y="0"/>
                </a:lnTo>
                <a:lnTo>
                  <a:pt x="1249712" y="0"/>
                </a:lnTo>
                <a:lnTo>
                  <a:pt x="1390826" y="0"/>
                </a:lnTo>
                <a:lnTo>
                  <a:pt x="1619734" y="0"/>
                </a:lnTo>
                <a:lnTo>
                  <a:pt x="2894306" y="0"/>
                </a:lnTo>
                <a:lnTo>
                  <a:pt x="3123214" y="0"/>
                </a:lnTo>
                <a:lnTo>
                  <a:pt x="3319426" y="0"/>
                </a:lnTo>
                <a:lnTo>
                  <a:pt x="3390755" y="0"/>
                </a:lnTo>
                <a:lnTo>
                  <a:pt x="3463799" y="0"/>
                </a:lnTo>
                <a:lnTo>
                  <a:pt x="3541043" y="0"/>
                </a:lnTo>
                <a:lnTo>
                  <a:pt x="3548334" y="0"/>
                </a:lnTo>
                <a:lnTo>
                  <a:pt x="3589717" y="0"/>
                </a:lnTo>
                <a:lnTo>
                  <a:pt x="3000496" y="3367817"/>
                </a:lnTo>
                <a:lnTo>
                  <a:pt x="2967417" y="3367817"/>
                </a:lnTo>
                <a:lnTo>
                  <a:pt x="2960127" y="3367817"/>
                </a:lnTo>
                <a:lnTo>
                  <a:pt x="2882882" y="3367817"/>
                </a:lnTo>
                <a:lnTo>
                  <a:pt x="2809838" y="3367817"/>
                </a:lnTo>
                <a:lnTo>
                  <a:pt x="2738509" y="3367817"/>
                </a:lnTo>
                <a:lnTo>
                  <a:pt x="2542298" y="3367817"/>
                </a:lnTo>
                <a:lnTo>
                  <a:pt x="2313390" y="3367817"/>
                </a:lnTo>
                <a:lnTo>
                  <a:pt x="1038817" y="3367817"/>
                </a:lnTo>
                <a:lnTo>
                  <a:pt x="809910" y="3367817"/>
                </a:lnTo>
                <a:lnTo>
                  <a:pt x="692206" y="3367817"/>
                </a:lnTo>
                <a:lnTo>
                  <a:pt x="613698" y="3367817"/>
                </a:lnTo>
                <a:lnTo>
                  <a:pt x="463298" y="3367817"/>
                </a:lnTo>
                <a:lnTo>
                  <a:pt x="392081" y="3367817"/>
                </a:lnTo>
                <a:lnTo>
                  <a:pt x="384790" y="3367817"/>
                </a:lnTo>
                <a:lnTo>
                  <a:pt x="267087" y="3367817"/>
                </a:lnTo>
                <a:lnTo>
                  <a:pt x="228908" y="3367817"/>
                </a:lnTo>
                <a:lnTo>
                  <a:pt x="163174" y="3367817"/>
                </a:lnTo>
                <a:lnTo>
                  <a:pt x="38179" y="3367817"/>
                </a:lnTo>
                <a:lnTo>
                  <a:pt x="0" y="336781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21951E-D998-406D-8DA3-CD1E5D0FB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55C038-ADBC-4355-B701-93788356F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EEAC42-F94F-4D9A-8CB5-ED46D3DC3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0AF3E990-B13D-41D9-846A-0E24B3BFDA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9" y="404814"/>
            <a:ext cx="3602037" cy="79216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lientitel einfü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E6682B2-58C3-4744-98CC-164D60DB92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6401" y="1484313"/>
            <a:ext cx="3602037" cy="48974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83FC153-223A-4626-B2A4-5272756794F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54977" y="0"/>
            <a:ext cx="3589717" cy="3367817"/>
          </a:xfrm>
          <a:custGeom>
            <a:avLst/>
            <a:gdLst>
              <a:gd name="connsiteX0" fmla="*/ 589221 w 3589717"/>
              <a:gd name="connsiteY0" fmla="*/ 0 h 3367817"/>
              <a:gd name="connsiteX1" fmla="*/ 595684 w 3589717"/>
              <a:gd name="connsiteY1" fmla="*/ 0 h 3367817"/>
              <a:gd name="connsiteX2" fmla="*/ 744090 w 3589717"/>
              <a:gd name="connsiteY2" fmla="*/ 0 h 3367817"/>
              <a:gd name="connsiteX3" fmla="*/ 818129 w 3589717"/>
              <a:gd name="connsiteY3" fmla="*/ 0 h 3367817"/>
              <a:gd name="connsiteX4" fmla="*/ 824592 w 3589717"/>
              <a:gd name="connsiteY4" fmla="*/ 0 h 3367817"/>
              <a:gd name="connsiteX5" fmla="*/ 965706 w 3589717"/>
              <a:gd name="connsiteY5" fmla="*/ 0 h 3367817"/>
              <a:gd name="connsiteX6" fmla="*/ 972997 w 3589717"/>
              <a:gd name="connsiteY6" fmla="*/ 0 h 3367817"/>
              <a:gd name="connsiteX7" fmla="*/ 1020804 w 3589717"/>
              <a:gd name="connsiteY7" fmla="*/ 0 h 3367817"/>
              <a:gd name="connsiteX8" fmla="*/ 1194614 w 3589717"/>
              <a:gd name="connsiteY8" fmla="*/ 0 h 3367817"/>
              <a:gd name="connsiteX9" fmla="*/ 1249712 w 3589717"/>
              <a:gd name="connsiteY9" fmla="*/ 0 h 3367817"/>
              <a:gd name="connsiteX10" fmla="*/ 1390826 w 3589717"/>
              <a:gd name="connsiteY10" fmla="*/ 0 h 3367817"/>
              <a:gd name="connsiteX11" fmla="*/ 1619734 w 3589717"/>
              <a:gd name="connsiteY11" fmla="*/ 0 h 3367817"/>
              <a:gd name="connsiteX12" fmla="*/ 2894306 w 3589717"/>
              <a:gd name="connsiteY12" fmla="*/ 0 h 3367817"/>
              <a:gd name="connsiteX13" fmla="*/ 3123214 w 3589717"/>
              <a:gd name="connsiteY13" fmla="*/ 0 h 3367817"/>
              <a:gd name="connsiteX14" fmla="*/ 3319426 w 3589717"/>
              <a:gd name="connsiteY14" fmla="*/ 0 h 3367817"/>
              <a:gd name="connsiteX15" fmla="*/ 3390755 w 3589717"/>
              <a:gd name="connsiteY15" fmla="*/ 0 h 3367817"/>
              <a:gd name="connsiteX16" fmla="*/ 3463799 w 3589717"/>
              <a:gd name="connsiteY16" fmla="*/ 0 h 3367817"/>
              <a:gd name="connsiteX17" fmla="*/ 3541043 w 3589717"/>
              <a:gd name="connsiteY17" fmla="*/ 0 h 3367817"/>
              <a:gd name="connsiteX18" fmla="*/ 3548334 w 3589717"/>
              <a:gd name="connsiteY18" fmla="*/ 0 h 3367817"/>
              <a:gd name="connsiteX19" fmla="*/ 3589717 w 3589717"/>
              <a:gd name="connsiteY19" fmla="*/ 0 h 3367817"/>
              <a:gd name="connsiteX20" fmla="*/ 3000496 w 3589717"/>
              <a:gd name="connsiteY20" fmla="*/ 3367817 h 3367817"/>
              <a:gd name="connsiteX21" fmla="*/ 2967417 w 3589717"/>
              <a:gd name="connsiteY21" fmla="*/ 3367817 h 3367817"/>
              <a:gd name="connsiteX22" fmla="*/ 2960127 w 3589717"/>
              <a:gd name="connsiteY22" fmla="*/ 3367817 h 3367817"/>
              <a:gd name="connsiteX23" fmla="*/ 2882882 w 3589717"/>
              <a:gd name="connsiteY23" fmla="*/ 3367817 h 3367817"/>
              <a:gd name="connsiteX24" fmla="*/ 2809838 w 3589717"/>
              <a:gd name="connsiteY24" fmla="*/ 3367817 h 3367817"/>
              <a:gd name="connsiteX25" fmla="*/ 2738509 w 3589717"/>
              <a:gd name="connsiteY25" fmla="*/ 3367817 h 3367817"/>
              <a:gd name="connsiteX26" fmla="*/ 2542298 w 3589717"/>
              <a:gd name="connsiteY26" fmla="*/ 3367817 h 3367817"/>
              <a:gd name="connsiteX27" fmla="*/ 2313390 w 3589717"/>
              <a:gd name="connsiteY27" fmla="*/ 3367817 h 3367817"/>
              <a:gd name="connsiteX28" fmla="*/ 1038817 w 3589717"/>
              <a:gd name="connsiteY28" fmla="*/ 3367817 h 3367817"/>
              <a:gd name="connsiteX29" fmla="*/ 809910 w 3589717"/>
              <a:gd name="connsiteY29" fmla="*/ 3367817 h 3367817"/>
              <a:gd name="connsiteX30" fmla="*/ 692206 w 3589717"/>
              <a:gd name="connsiteY30" fmla="*/ 3367817 h 3367817"/>
              <a:gd name="connsiteX31" fmla="*/ 613698 w 3589717"/>
              <a:gd name="connsiteY31" fmla="*/ 3367817 h 3367817"/>
              <a:gd name="connsiteX32" fmla="*/ 463298 w 3589717"/>
              <a:gd name="connsiteY32" fmla="*/ 3367817 h 3367817"/>
              <a:gd name="connsiteX33" fmla="*/ 392081 w 3589717"/>
              <a:gd name="connsiteY33" fmla="*/ 3367817 h 3367817"/>
              <a:gd name="connsiteX34" fmla="*/ 384790 w 3589717"/>
              <a:gd name="connsiteY34" fmla="*/ 3367817 h 3367817"/>
              <a:gd name="connsiteX35" fmla="*/ 267087 w 3589717"/>
              <a:gd name="connsiteY35" fmla="*/ 3367817 h 3367817"/>
              <a:gd name="connsiteX36" fmla="*/ 228908 w 3589717"/>
              <a:gd name="connsiteY36" fmla="*/ 3367817 h 3367817"/>
              <a:gd name="connsiteX37" fmla="*/ 163174 w 3589717"/>
              <a:gd name="connsiteY37" fmla="*/ 3367817 h 3367817"/>
              <a:gd name="connsiteX38" fmla="*/ 38179 w 3589717"/>
              <a:gd name="connsiteY38" fmla="*/ 3367817 h 3367817"/>
              <a:gd name="connsiteX39" fmla="*/ 0 w 3589717"/>
              <a:gd name="connsiteY39" fmla="*/ 3367817 h 3367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3589717" h="3367817">
                <a:moveTo>
                  <a:pt x="589221" y="0"/>
                </a:moveTo>
                <a:lnTo>
                  <a:pt x="595684" y="0"/>
                </a:lnTo>
                <a:lnTo>
                  <a:pt x="744090" y="0"/>
                </a:lnTo>
                <a:lnTo>
                  <a:pt x="818129" y="0"/>
                </a:lnTo>
                <a:lnTo>
                  <a:pt x="824592" y="0"/>
                </a:lnTo>
                <a:lnTo>
                  <a:pt x="965706" y="0"/>
                </a:lnTo>
                <a:lnTo>
                  <a:pt x="972997" y="0"/>
                </a:lnTo>
                <a:lnTo>
                  <a:pt x="1020804" y="0"/>
                </a:lnTo>
                <a:lnTo>
                  <a:pt x="1194614" y="0"/>
                </a:lnTo>
                <a:lnTo>
                  <a:pt x="1249712" y="0"/>
                </a:lnTo>
                <a:lnTo>
                  <a:pt x="1390826" y="0"/>
                </a:lnTo>
                <a:lnTo>
                  <a:pt x="1619734" y="0"/>
                </a:lnTo>
                <a:lnTo>
                  <a:pt x="2894306" y="0"/>
                </a:lnTo>
                <a:lnTo>
                  <a:pt x="3123214" y="0"/>
                </a:lnTo>
                <a:lnTo>
                  <a:pt x="3319426" y="0"/>
                </a:lnTo>
                <a:lnTo>
                  <a:pt x="3390755" y="0"/>
                </a:lnTo>
                <a:lnTo>
                  <a:pt x="3463799" y="0"/>
                </a:lnTo>
                <a:lnTo>
                  <a:pt x="3541043" y="0"/>
                </a:lnTo>
                <a:lnTo>
                  <a:pt x="3548334" y="0"/>
                </a:lnTo>
                <a:lnTo>
                  <a:pt x="3589717" y="0"/>
                </a:lnTo>
                <a:lnTo>
                  <a:pt x="3000496" y="3367817"/>
                </a:lnTo>
                <a:lnTo>
                  <a:pt x="2967417" y="3367817"/>
                </a:lnTo>
                <a:lnTo>
                  <a:pt x="2960127" y="3367817"/>
                </a:lnTo>
                <a:lnTo>
                  <a:pt x="2882882" y="3367817"/>
                </a:lnTo>
                <a:lnTo>
                  <a:pt x="2809838" y="3367817"/>
                </a:lnTo>
                <a:lnTo>
                  <a:pt x="2738509" y="3367817"/>
                </a:lnTo>
                <a:lnTo>
                  <a:pt x="2542298" y="3367817"/>
                </a:lnTo>
                <a:lnTo>
                  <a:pt x="2313390" y="3367817"/>
                </a:lnTo>
                <a:lnTo>
                  <a:pt x="1038817" y="3367817"/>
                </a:lnTo>
                <a:lnTo>
                  <a:pt x="809910" y="3367817"/>
                </a:lnTo>
                <a:lnTo>
                  <a:pt x="692206" y="3367817"/>
                </a:lnTo>
                <a:lnTo>
                  <a:pt x="613698" y="3367817"/>
                </a:lnTo>
                <a:lnTo>
                  <a:pt x="463298" y="3367817"/>
                </a:lnTo>
                <a:lnTo>
                  <a:pt x="392081" y="3367817"/>
                </a:lnTo>
                <a:lnTo>
                  <a:pt x="384790" y="3367817"/>
                </a:lnTo>
                <a:lnTo>
                  <a:pt x="267087" y="3367817"/>
                </a:lnTo>
                <a:lnTo>
                  <a:pt x="228908" y="3367817"/>
                </a:lnTo>
                <a:lnTo>
                  <a:pt x="163174" y="3367817"/>
                </a:lnTo>
                <a:lnTo>
                  <a:pt x="38179" y="3367817"/>
                </a:lnTo>
                <a:lnTo>
                  <a:pt x="0" y="336781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</p:spTree>
    <p:extLst>
      <p:ext uri="{BB962C8B-B14F-4D97-AF65-F5344CB8AC3E}">
        <p14:creationId xmlns:p14="http://schemas.microsoft.com/office/powerpoint/2010/main" val="3803394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 Bilder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20BFB645-7D0D-4AD0-9C6E-3622F198588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624049" y="3486151"/>
            <a:ext cx="3044908" cy="2895600"/>
          </a:xfrm>
          <a:custGeom>
            <a:avLst/>
            <a:gdLst>
              <a:gd name="connsiteX0" fmla="*/ 518397 w 3094729"/>
              <a:gd name="connsiteY0" fmla="*/ 0 h 2963003"/>
              <a:gd name="connsiteX1" fmla="*/ 3094729 w 3094729"/>
              <a:gd name="connsiteY1" fmla="*/ 0 h 2963003"/>
              <a:gd name="connsiteX2" fmla="*/ 2576332 w 3094729"/>
              <a:gd name="connsiteY2" fmla="*/ 2963003 h 2963003"/>
              <a:gd name="connsiteX3" fmla="*/ 2542298 w 3094729"/>
              <a:gd name="connsiteY3" fmla="*/ 2963003 h 2963003"/>
              <a:gd name="connsiteX4" fmla="*/ 2313390 w 3094729"/>
              <a:gd name="connsiteY4" fmla="*/ 2963003 h 2963003"/>
              <a:gd name="connsiteX5" fmla="*/ 1038817 w 3094729"/>
              <a:gd name="connsiteY5" fmla="*/ 2963003 h 2963003"/>
              <a:gd name="connsiteX6" fmla="*/ 809910 w 3094729"/>
              <a:gd name="connsiteY6" fmla="*/ 2963003 h 2963003"/>
              <a:gd name="connsiteX7" fmla="*/ 692206 w 3094729"/>
              <a:gd name="connsiteY7" fmla="*/ 2963003 h 2963003"/>
              <a:gd name="connsiteX8" fmla="*/ 613698 w 3094729"/>
              <a:gd name="connsiteY8" fmla="*/ 2963003 h 2963003"/>
              <a:gd name="connsiteX9" fmla="*/ 463298 w 3094729"/>
              <a:gd name="connsiteY9" fmla="*/ 2963003 h 2963003"/>
              <a:gd name="connsiteX10" fmla="*/ 392081 w 3094729"/>
              <a:gd name="connsiteY10" fmla="*/ 2963003 h 2963003"/>
              <a:gd name="connsiteX11" fmla="*/ 384790 w 3094729"/>
              <a:gd name="connsiteY11" fmla="*/ 2963003 h 2963003"/>
              <a:gd name="connsiteX12" fmla="*/ 267087 w 3094729"/>
              <a:gd name="connsiteY12" fmla="*/ 2963003 h 2963003"/>
              <a:gd name="connsiteX13" fmla="*/ 228908 w 3094729"/>
              <a:gd name="connsiteY13" fmla="*/ 2963003 h 2963003"/>
              <a:gd name="connsiteX14" fmla="*/ 163174 w 3094729"/>
              <a:gd name="connsiteY14" fmla="*/ 2963003 h 2963003"/>
              <a:gd name="connsiteX15" fmla="*/ 38179 w 3094729"/>
              <a:gd name="connsiteY15" fmla="*/ 2963003 h 2963003"/>
              <a:gd name="connsiteX16" fmla="*/ 0 w 3094729"/>
              <a:gd name="connsiteY16" fmla="*/ 2963003 h 2963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94729" h="2963003">
                <a:moveTo>
                  <a:pt x="518397" y="0"/>
                </a:moveTo>
                <a:lnTo>
                  <a:pt x="3094729" y="0"/>
                </a:lnTo>
                <a:lnTo>
                  <a:pt x="2576332" y="2963003"/>
                </a:lnTo>
                <a:lnTo>
                  <a:pt x="2542298" y="2963003"/>
                </a:lnTo>
                <a:lnTo>
                  <a:pt x="2313390" y="2963003"/>
                </a:lnTo>
                <a:lnTo>
                  <a:pt x="1038817" y="2963003"/>
                </a:lnTo>
                <a:lnTo>
                  <a:pt x="809910" y="2963003"/>
                </a:lnTo>
                <a:lnTo>
                  <a:pt x="692206" y="2963003"/>
                </a:lnTo>
                <a:lnTo>
                  <a:pt x="613698" y="2963003"/>
                </a:lnTo>
                <a:lnTo>
                  <a:pt x="463298" y="2963003"/>
                </a:lnTo>
                <a:lnTo>
                  <a:pt x="392081" y="2963003"/>
                </a:lnTo>
                <a:lnTo>
                  <a:pt x="384790" y="2963003"/>
                </a:lnTo>
                <a:lnTo>
                  <a:pt x="267087" y="2963003"/>
                </a:lnTo>
                <a:lnTo>
                  <a:pt x="228908" y="2963003"/>
                </a:lnTo>
                <a:lnTo>
                  <a:pt x="163174" y="2963003"/>
                </a:lnTo>
                <a:lnTo>
                  <a:pt x="38179" y="2963003"/>
                </a:lnTo>
                <a:lnTo>
                  <a:pt x="0" y="2963003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21951E-D998-406D-8DA3-CD1E5D0FB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55C038-ADBC-4355-B701-93788356F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EEAC42-F94F-4D9A-8CB5-ED46D3DC3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0AF3E990-B13D-41D9-846A-0E24B3BFDA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9" y="404814"/>
            <a:ext cx="3602037" cy="79216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lientitel einfü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E6682B2-58C3-4744-98CC-164D60DB92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6401" y="1484313"/>
            <a:ext cx="3602037" cy="48974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603A15A1-401D-4778-86E5-412A638BF10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54978" y="404814"/>
            <a:ext cx="3094729" cy="2963003"/>
          </a:xfrm>
          <a:custGeom>
            <a:avLst/>
            <a:gdLst>
              <a:gd name="connsiteX0" fmla="*/ 518397 w 3094729"/>
              <a:gd name="connsiteY0" fmla="*/ 0 h 2963003"/>
              <a:gd name="connsiteX1" fmla="*/ 3094729 w 3094729"/>
              <a:gd name="connsiteY1" fmla="*/ 0 h 2963003"/>
              <a:gd name="connsiteX2" fmla="*/ 2576332 w 3094729"/>
              <a:gd name="connsiteY2" fmla="*/ 2963003 h 2963003"/>
              <a:gd name="connsiteX3" fmla="*/ 2542298 w 3094729"/>
              <a:gd name="connsiteY3" fmla="*/ 2963003 h 2963003"/>
              <a:gd name="connsiteX4" fmla="*/ 2313390 w 3094729"/>
              <a:gd name="connsiteY4" fmla="*/ 2963003 h 2963003"/>
              <a:gd name="connsiteX5" fmla="*/ 1038817 w 3094729"/>
              <a:gd name="connsiteY5" fmla="*/ 2963003 h 2963003"/>
              <a:gd name="connsiteX6" fmla="*/ 809910 w 3094729"/>
              <a:gd name="connsiteY6" fmla="*/ 2963003 h 2963003"/>
              <a:gd name="connsiteX7" fmla="*/ 692206 w 3094729"/>
              <a:gd name="connsiteY7" fmla="*/ 2963003 h 2963003"/>
              <a:gd name="connsiteX8" fmla="*/ 613698 w 3094729"/>
              <a:gd name="connsiteY8" fmla="*/ 2963003 h 2963003"/>
              <a:gd name="connsiteX9" fmla="*/ 463298 w 3094729"/>
              <a:gd name="connsiteY9" fmla="*/ 2963003 h 2963003"/>
              <a:gd name="connsiteX10" fmla="*/ 392081 w 3094729"/>
              <a:gd name="connsiteY10" fmla="*/ 2963003 h 2963003"/>
              <a:gd name="connsiteX11" fmla="*/ 384790 w 3094729"/>
              <a:gd name="connsiteY11" fmla="*/ 2963003 h 2963003"/>
              <a:gd name="connsiteX12" fmla="*/ 267087 w 3094729"/>
              <a:gd name="connsiteY12" fmla="*/ 2963003 h 2963003"/>
              <a:gd name="connsiteX13" fmla="*/ 228908 w 3094729"/>
              <a:gd name="connsiteY13" fmla="*/ 2963003 h 2963003"/>
              <a:gd name="connsiteX14" fmla="*/ 163174 w 3094729"/>
              <a:gd name="connsiteY14" fmla="*/ 2963003 h 2963003"/>
              <a:gd name="connsiteX15" fmla="*/ 38179 w 3094729"/>
              <a:gd name="connsiteY15" fmla="*/ 2963003 h 2963003"/>
              <a:gd name="connsiteX16" fmla="*/ 0 w 3094729"/>
              <a:gd name="connsiteY16" fmla="*/ 2963003 h 2963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94729" h="2963003">
                <a:moveTo>
                  <a:pt x="518397" y="0"/>
                </a:moveTo>
                <a:lnTo>
                  <a:pt x="3094729" y="0"/>
                </a:lnTo>
                <a:lnTo>
                  <a:pt x="2576332" y="2963003"/>
                </a:lnTo>
                <a:lnTo>
                  <a:pt x="2542298" y="2963003"/>
                </a:lnTo>
                <a:lnTo>
                  <a:pt x="2313390" y="2963003"/>
                </a:lnTo>
                <a:lnTo>
                  <a:pt x="1038817" y="2963003"/>
                </a:lnTo>
                <a:lnTo>
                  <a:pt x="809910" y="2963003"/>
                </a:lnTo>
                <a:lnTo>
                  <a:pt x="692206" y="2963003"/>
                </a:lnTo>
                <a:lnTo>
                  <a:pt x="613698" y="2963003"/>
                </a:lnTo>
                <a:lnTo>
                  <a:pt x="463298" y="2963003"/>
                </a:lnTo>
                <a:lnTo>
                  <a:pt x="392081" y="2963003"/>
                </a:lnTo>
                <a:lnTo>
                  <a:pt x="384790" y="2963003"/>
                </a:lnTo>
                <a:lnTo>
                  <a:pt x="267087" y="2963003"/>
                </a:lnTo>
                <a:lnTo>
                  <a:pt x="228908" y="2963003"/>
                </a:lnTo>
                <a:lnTo>
                  <a:pt x="163174" y="2963003"/>
                </a:lnTo>
                <a:lnTo>
                  <a:pt x="38179" y="2963003"/>
                </a:lnTo>
                <a:lnTo>
                  <a:pt x="0" y="2963003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24F32096-2C17-4155-A6E5-AB058A14451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289625" y="3490182"/>
            <a:ext cx="1710368" cy="1637566"/>
          </a:xfrm>
          <a:custGeom>
            <a:avLst/>
            <a:gdLst>
              <a:gd name="connsiteX0" fmla="*/ 518397 w 3094729"/>
              <a:gd name="connsiteY0" fmla="*/ 0 h 2963003"/>
              <a:gd name="connsiteX1" fmla="*/ 3094729 w 3094729"/>
              <a:gd name="connsiteY1" fmla="*/ 0 h 2963003"/>
              <a:gd name="connsiteX2" fmla="*/ 2576332 w 3094729"/>
              <a:gd name="connsiteY2" fmla="*/ 2963003 h 2963003"/>
              <a:gd name="connsiteX3" fmla="*/ 2542298 w 3094729"/>
              <a:gd name="connsiteY3" fmla="*/ 2963003 h 2963003"/>
              <a:gd name="connsiteX4" fmla="*/ 2313390 w 3094729"/>
              <a:gd name="connsiteY4" fmla="*/ 2963003 h 2963003"/>
              <a:gd name="connsiteX5" fmla="*/ 1038817 w 3094729"/>
              <a:gd name="connsiteY5" fmla="*/ 2963003 h 2963003"/>
              <a:gd name="connsiteX6" fmla="*/ 809910 w 3094729"/>
              <a:gd name="connsiteY6" fmla="*/ 2963003 h 2963003"/>
              <a:gd name="connsiteX7" fmla="*/ 692206 w 3094729"/>
              <a:gd name="connsiteY7" fmla="*/ 2963003 h 2963003"/>
              <a:gd name="connsiteX8" fmla="*/ 613698 w 3094729"/>
              <a:gd name="connsiteY8" fmla="*/ 2963003 h 2963003"/>
              <a:gd name="connsiteX9" fmla="*/ 463298 w 3094729"/>
              <a:gd name="connsiteY9" fmla="*/ 2963003 h 2963003"/>
              <a:gd name="connsiteX10" fmla="*/ 392081 w 3094729"/>
              <a:gd name="connsiteY10" fmla="*/ 2963003 h 2963003"/>
              <a:gd name="connsiteX11" fmla="*/ 384790 w 3094729"/>
              <a:gd name="connsiteY11" fmla="*/ 2963003 h 2963003"/>
              <a:gd name="connsiteX12" fmla="*/ 267087 w 3094729"/>
              <a:gd name="connsiteY12" fmla="*/ 2963003 h 2963003"/>
              <a:gd name="connsiteX13" fmla="*/ 228908 w 3094729"/>
              <a:gd name="connsiteY13" fmla="*/ 2963003 h 2963003"/>
              <a:gd name="connsiteX14" fmla="*/ 163174 w 3094729"/>
              <a:gd name="connsiteY14" fmla="*/ 2963003 h 2963003"/>
              <a:gd name="connsiteX15" fmla="*/ 38179 w 3094729"/>
              <a:gd name="connsiteY15" fmla="*/ 2963003 h 2963003"/>
              <a:gd name="connsiteX16" fmla="*/ 0 w 3094729"/>
              <a:gd name="connsiteY16" fmla="*/ 2963003 h 2963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94729" h="2963003">
                <a:moveTo>
                  <a:pt x="518397" y="0"/>
                </a:moveTo>
                <a:lnTo>
                  <a:pt x="3094729" y="0"/>
                </a:lnTo>
                <a:lnTo>
                  <a:pt x="2576332" y="2963003"/>
                </a:lnTo>
                <a:lnTo>
                  <a:pt x="2542298" y="2963003"/>
                </a:lnTo>
                <a:lnTo>
                  <a:pt x="2313390" y="2963003"/>
                </a:lnTo>
                <a:lnTo>
                  <a:pt x="1038817" y="2963003"/>
                </a:lnTo>
                <a:lnTo>
                  <a:pt x="809910" y="2963003"/>
                </a:lnTo>
                <a:lnTo>
                  <a:pt x="692206" y="2963003"/>
                </a:lnTo>
                <a:lnTo>
                  <a:pt x="613698" y="2963003"/>
                </a:lnTo>
                <a:lnTo>
                  <a:pt x="463298" y="2963003"/>
                </a:lnTo>
                <a:lnTo>
                  <a:pt x="392081" y="2963003"/>
                </a:lnTo>
                <a:lnTo>
                  <a:pt x="384790" y="2963003"/>
                </a:lnTo>
                <a:lnTo>
                  <a:pt x="267087" y="2963003"/>
                </a:lnTo>
                <a:lnTo>
                  <a:pt x="228908" y="2963003"/>
                </a:lnTo>
                <a:lnTo>
                  <a:pt x="163174" y="2963003"/>
                </a:lnTo>
                <a:lnTo>
                  <a:pt x="38179" y="2963003"/>
                </a:lnTo>
                <a:lnTo>
                  <a:pt x="0" y="2963003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4ED0E46F-5780-449F-AE34-DFB31FACC77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966794" y="1730251"/>
            <a:ext cx="1710368" cy="1637566"/>
          </a:xfrm>
          <a:custGeom>
            <a:avLst/>
            <a:gdLst>
              <a:gd name="connsiteX0" fmla="*/ 518397 w 3094729"/>
              <a:gd name="connsiteY0" fmla="*/ 0 h 2963003"/>
              <a:gd name="connsiteX1" fmla="*/ 3094729 w 3094729"/>
              <a:gd name="connsiteY1" fmla="*/ 0 h 2963003"/>
              <a:gd name="connsiteX2" fmla="*/ 2576332 w 3094729"/>
              <a:gd name="connsiteY2" fmla="*/ 2963003 h 2963003"/>
              <a:gd name="connsiteX3" fmla="*/ 2542298 w 3094729"/>
              <a:gd name="connsiteY3" fmla="*/ 2963003 h 2963003"/>
              <a:gd name="connsiteX4" fmla="*/ 2313390 w 3094729"/>
              <a:gd name="connsiteY4" fmla="*/ 2963003 h 2963003"/>
              <a:gd name="connsiteX5" fmla="*/ 1038817 w 3094729"/>
              <a:gd name="connsiteY5" fmla="*/ 2963003 h 2963003"/>
              <a:gd name="connsiteX6" fmla="*/ 809910 w 3094729"/>
              <a:gd name="connsiteY6" fmla="*/ 2963003 h 2963003"/>
              <a:gd name="connsiteX7" fmla="*/ 692206 w 3094729"/>
              <a:gd name="connsiteY7" fmla="*/ 2963003 h 2963003"/>
              <a:gd name="connsiteX8" fmla="*/ 613698 w 3094729"/>
              <a:gd name="connsiteY8" fmla="*/ 2963003 h 2963003"/>
              <a:gd name="connsiteX9" fmla="*/ 463298 w 3094729"/>
              <a:gd name="connsiteY9" fmla="*/ 2963003 h 2963003"/>
              <a:gd name="connsiteX10" fmla="*/ 392081 w 3094729"/>
              <a:gd name="connsiteY10" fmla="*/ 2963003 h 2963003"/>
              <a:gd name="connsiteX11" fmla="*/ 384790 w 3094729"/>
              <a:gd name="connsiteY11" fmla="*/ 2963003 h 2963003"/>
              <a:gd name="connsiteX12" fmla="*/ 267087 w 3094729"/>
              <a:gd name="connsiteY12" fmla="*/ 2963003 h 2963003"/>
              <a:gd name="connsiteX13" fmla="*/ 228908 w 3094729"/>
              <a:gd name="connsiteY13" fmla="*/ 2963003 h 2963003"/>
              <a:gd name="connsiteX14" fmla="*/ 163174 w 3094729"/>
              <a:gd name="connsiteY14" fmla="*/ 2963003 h 2963003"/>
              <a:gd name="connsiteX15" fmla="*/ 38179 w 3094729"/>
              <a:gd name="connsiteY15" fmla="*/ 2963003 h 2963003"/>
              <a:gd name="connsiteX16" fmla="*/ 0 w 3094729"/>
              <a:gd name="connsiteY16" fmla="*/ 2963003 h 2963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94729" h="2963003">
                <a:moveTo>
                  <a:pt x="518397" y="0"/>
                </a:moveTo>
                <a:lnTo>
                  <a:pt x="3094729" y="0"/>
                </a:lnTo>
                <a:lnTo>
                  <a:pt x="2576332" y="2963003"/>
                </a:lnTo>
                <a:lnTo>
                  <a:pt x="2542298" y="2963003"/>
                </a:lnTo>
                <a:lnTo>
                  <a:pt x="2313390" y="2963003"/>
                </a:lnTo>
                <a:lnTo>
                  <a:pt x="1038817" y="2963003"/>
                </a:lnTo>
                <a:lnTo>
                  <a:pt x="809910" y="2963003"/>
                </a:lnTo>
                <a:lnTo>
                  <a:pt x="692206" y="2963003"/>
                </a:lnTo>
                <a:lnTo>
                  <a:pt x="613698" y="2963003"/>
                </a:lnTo>
                <a:lnTo>
                  <a:pt x="463298" y="2963003"/>
                </a:lnTo>
                <a:lnTo>
                  <a:pt x="392081" y="2963003"/>
                </a:lnTo>
                <a:lnTo>
                  <a:pt x="384790" y="2963003"/>
                </a:lnTo>
                <a:lnTo>
                  <a:pt x="267087" y="2963003"/>
                </a:lnTo>
                <a:lnTo>
                  <a:pt x="228908" y="2963003"/>
                </a:lnTo>
                <a:lnTo>
                  <a:pt x="163174" y="2963003"/>
                </a:lnTo>
                <a:lnTo>
                  <a:pt x="38179" y="2963003"/>
                </a:lnTo>
                <a:lnTo>
                  <a:pt x="0" y="2963003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</p:spTree>
    <p:extLst>
      <p:ext uri="{BB962C8B-B14F-4D97-AF65-F5344CB8AC3E}">
        <p14:creationId xmlns:p14="http://schemas.microsoft.com/office/powerpoint/2010/main" val="3736713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 Bilder geord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CC7B6A7F-0824-424C-88F8-1CAC8CBD838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683959" y="1485539"/>
            <a:ext cx="2475739" cy="2382107"/>
          </a:xfrm>
          <a:custGeom>
            <a:avLst/>
            <a:gdLst>
              <a:gd name="connsiteX0" fmla="*/ 412981 w 2453255"/>
              <a:gd name="connsiteY0" fmla="*/ 0 h 2360473"/>
              <a:gd name="connsiteX1" fmla="*/ 2453255 w 2453255"/>
              <a:gd name="connsiteY1" fmla="*/ 0 h 2360473"/>
              <a:gd name="connsiteX2" fmla="*/ 2040274 w 2453255"/>
              <a:gd name="connsiteY2" fmla="*/ 2360473 h 2360473"/>
              <a:gd name="connsiteX3" fmla="*/ 0 w 2453255"/>
              <a:gd name="connsiteY3" fmla="*/ 2360473 h 236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255" h="2360473">
                <a:moveTo>
                  <a:pt x="412981" y="0"/>
                </a:moveTo>
                <a:lnTo>
                  <a:pt x="2453255" y="0"/>
                </a:lnTo>
                <a:lnTo>
                  <a:pt x="2040274" y="2360473"/>
                </a:lnTo>
                <a:lnTo>
                  <a:pt x="0" y="2360473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b="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19EB01C1-95D0-49AD-ADA2-14E9D75705A3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869619" y="1485539"/>
            <a:ext cx="2475739" cy="2382107"/>
          </a:xfrm>
          <a:custGeom>
            <a:avLst/>
            <a:gdLst>
              <a:gd name="connsiteX0" fmla="*/ 412980 w 2453255"/>
              <a:gd name="connsiteY0" fmla="*/ 0 h 2360473"/>
              <a:gd name="connsiteX1" fmla="*/ 2453255 w 2453255"/>
              <a:gd name="connsiteY1" fmla="*/ 0 h 2360473"/>
              <a:gd name="connsiteX2" fmla="*/ 2040274 w 2453255"/>
              <a:gd name="connsiteY2" fmla="*/ 2360473 h 2360473"/>
              <a:gd name="connsiteX3" fmla="*/ 0 w 2453255"/>
              <a:gd name="connsiteY3" fmla="*/ 2360473 h 236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255" h="2360473">
                <a:moveTo>
                  <a:pt x="412980" y="0"/>
                </a:moveTo>
                <a:lnTo>
                  <a:pt x="2453255" y="0"/>
                </a:lnTo>
                <a:lnTo>
                  <a:pt x="2040274" y="2360473"/>
                </a:lnTo>
                <a:lnTo>
                  <a:pt x="0" y="2360473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b="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157C71BE-1618-4A50-B34D-F34AADF0890C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242116" y="3994213"/>
            <a:ext cx="2476690" cy="2387537"/>
          </a:xfrm>
          <a:custGeom>
            <a:avLst/>
            <a:gdLst>
              <a:gd name="connsiteX0" fmla="*/ 413923 w 2454197"/>
              <a:gd name="connsiteY0" fmla="*/ 0 h 2365854"/>
              <a:gd name="connsiteX1" fmla="*/ 2454197 w 2454197"/>
              <a:gd name="connsiteY1" fmla="*/ 0 h 2365854"/>
              <a:gd name="connsiteX2" fmla="*/ 2040275 w 2454197"/>
              <a:gd name="connsiteY2" fmla="*/ 2365854 h 2365854"/>
              <a:gd name="connsiteX3" fmla="*/ 1991178 w 2454197"/>
              <a:gd name="connsiteY3" fmla="*/ 2365854 h 2365854"/>
              <a:gd name="connsiteX4" fmla="*/ 894130 w 2454197"/>
              <a:gd name="connsiteY4" fmla="*/ 2365854 h 2365854"/>
              <a:gd name="connsiteX5" fmla="*/ 697105 w 2454197"/>
              <a:gd name="connsiteY5" fmla="*/ 2365854 h 2365854"/>
              <a:gd name="connsiteX6" fmla="*/ 595795 w 2454197"/>
              <a:gd name="connsiteY6" fmla="*/ 2365854 h 2365854"/>
              <a:gd name="connsiteX7" fmla="*/ 528223 w 2454197"/>
              <a:gd name="connsiteY7" fmla="*/ 2365854 h 2365854"/>
              <a:gd name="connsiteX8" fmla="*/ 398770 w 2454197"/>
              <a:gd name="connsiteY8" fmla="*/ 2365854 h 2365854"/>
              <a:gd name="connsiteX9" fmla="*/ 337473 w 2454197"/>
              <a:gd name="connsiteY9" fmla="*/ 2365854 h 2365854"/>
              <a:gd name="connsiteX10" fmla="*/ 331196 w 2454197"/>
              <a:gd name="connsiteY10" fmla="*/ 2365854 h 2365854"/>
              <a:gd name="connsiteX11" fmla="*/ 229887 w 2454197"/>
              <a:gd name="connsiteY11" fmla="*/ 2365854 h 2365854"/>
              <a:gd name="connsiteX12" fmla="*/ 197027 w 2454197"/>
              <a:gd name="connsiteY12" fmla="*/ 2365854 h 2365854"/>
              <a:gd name="connsiteX13" fmla="*/ 140448 w 2454197"/>
              <a:gd name="connsiteY13" fmla="*/ 2365854 h 2365854"/>
              <a:gd name="connsiteX14" fmla="*/ 32863 w 2454197"/>
              <a:gd name="connsiteY14" fmla="*/ 2365854 h 2365854"/>
              <a:gd name="connsiteX15" fmla="*/ 0 w 2454197"/>
              <a:gd name="connsiteY15" fmla="*/ 2365854 h 2365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54197" h="2365854">
                <a:moveTo>
                  <a:pt x="413923" y="0"/>
                </a:moveTo>
                <a:lnTo>
                  <a:pt x="2454197" y="0"/>
                </a:lnTo>
                <a:lnTo>
                  <a:pt x="2040275" y="2365854"/>
                </a:lnTo>
                <a:lnTo>
                  <a:pt x="1991178" y="2365854"/>
                </a:lnTo>
                <a:lnTo>
                  <a:pt x="894130" y="2365854"/>
                </a:lnTo>
                <a:lnTo>
                  <a:pt x="697105" y="2365854"/>
                </a:lnTo>
                <a:lnTo>
                  <a:pt x="595795" y="2365854"/>
                </a:lnTo>
                <a:lnTo>
                  <a:pt x="528223" y="2365854"/>
                </a:lnTo>
                <a:lnTo>
                  <a:pt x="398770" y="2365854"/>
                </a:lnTo>
                <a:lnTo>
                  <a:pt x="337473" y="2365854"/>
                </a:lnTo>
                <a:lnTo>
                  <a:pt x="331196" y="2365854"/>
                </a:lnTo>
                <a:lnTo>
                  <a:pt x="229887" y="2365854"/>
                </a:lnTo>
                <a:lnTo>
                  <a:pt x="197027" y="2365854"/>
                </a:lnTo>
                <a:lnTo>
                  <a:pt x="140448" y="2365854"/>
                </a:lnTo>
                <a:lnTo>
                  <a:pt x="32863" y="2365854"/>
                </a:lnTo>
                <a:lnTo>
                  <a:pt x="0" y="2365854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b="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F82D8D94-1969-48E3-9A4E-16542303F109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429185" y="3994213"/>
            <a:ext cx="2476690" cy="2387537"/>
          </a:xfrm>
          <a:custGeom>
            <a:avLst/>
            <a:gdLst>
              <a:gd name="connsiteX0" fmla="*/ 413922 w 2454197"/>
              <a:gd name="connsiteY0" fmla="*/ 0 h 2365854"/>
              <a:gd name="connsiteX1" fmla="*/ 2454197 w 2454197"/>
              <a:gd name="connsiteY1" fmla="*/ 0 h 2365854"/>
              <a:gd name="connsiteX2" fmla="*/ 2040275 w 2454197"/>
              <a:gd name="connsiteY2" fmla="*/ 2365854 h 2365854"/>
              <a:gd name="connsiteX3" fmla="*/ 1991178 w 2454197"/>
              <a:gd name="connsiteY3" fmla="*/ 2365854 h 2365854"/>
              <a:gd name="connsiteX4" fmla="*/ 894130 w 2454197"/>
              <a:gd name="connsiteY4" fmla="*/ 2365854 h 2365854"/>
              <a:gd name="connsiteX5" fmla="*/ 697105 w 2454197"/>
              <a:gd name="connsiteY5" fmla="*/ 2365854 h 2365854"/>
              <a:gd name="connsiteX6" fmla="*/ 595795 w 2454197"/>
              <a:gd name="connsiteY6" fmla="*/ 2365854 h 2365854"/>
              <a:gd name="connsiteX7" fmla="*/ 528222 w 2454197"/>
              <a:gd name="connsiteY7" fmla="*/ 2365854 h 2365854"/>
              <a:gd name="connsiteX8" fmla="*/ 398770 w 2454197"/>
              <a:gd name="connsiteY8" fmla="*/ 2365854 h 2365854"/>
              <a:gd name="connsiteX9" fmla="*/ 337473 w 2454197"/>
              <a:gd name="connsiteY9" fmla="*/ 2365854 h 2365854"/>
              <a:gd name="connsiteX10" fmla="*/ 331196 w 2454197"/>
              <a:gd name="connsiteY10" fmla="*/ 2365854 h 2365854"/>
              <a:gd name="connsiteX11" fmla="*/ 229887 w 2454197"/>
              <a:gd name="connsiteY11" fmla="*/ 2365854 h 2365854"/>
              <a:gd name="connsiteX12" fmla="*/ 197027 w 2454197"/>
              <a:gd name="connsiteY12" fmla="*/ 2365854 h 2365854"/>
              <a:gd name="connsiteX13" fmla="*/ 140447 w 2454197"/>
              <a:gd name="connsiteY13" fmla="*/ 2365854 h 2365854"/>
              <a:gd name="connsiteX14" fmla="*/ 32862 w 2454197"/>
              <a:gd name="connsiteY14" fmla="*/ 2365854 h 2365854"/>
              <a:gd name="connsiteX15" fmla="*/ 0 w 2454197"/>
              <a:gd name="connsiteY15" fmla="*/ 2365854 h 2365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54197" h="2365854">
                <a:moveTo>
                  <a:pt x="413922" y="0"/>
                </a:moveTo>
                <a:lnTo>
                  <a:pt x="2454197" y="0"/>
                </a:lnTo>
                <a:lnTo>
                  <a:pt x="2040275" y="2365854"/>
                </a:lnTo>
                <a:lnTo>
                  <a:pt x="1991178" y="2365854"/>
                </a:lnTo>
                <a:lnTo>
                  <a:pt x="894130" y="2365854"/>
                </a:lnTo>
                <a:lnTo>
                  <a:pt x="697105" y="2365854"/>
                </a:lnTo>
                <a:lnTo>
                  <a:pt x="595795" y="2365854"/>
                </a:lnTo>
                <a:lnTo>
                  <a:pt x="528222" y="2365854"/>
                </a:lnTo>
                <a:lnTo>
                  <a:pt x="398770" y="2365854"/>
                </a:lnTo>
                <a:lnTo>
                  <a:pt x="337473" y="2365854"/>
                </a:lnTo>
                <a:lnTo>
                  <a:pt x="331196" y="2365854"/>
                </a:lnTo>
                <a:lnTo>
                  <a:pt x="229887" y="2365854"/>
                </a:lnTo>
                <a:lnTo>
                  <a:pt x="197027" y="2365854"/>
                </a:lnTo>
                <a:lnTo>
                  <a:pt x="140447" y="2365854"/>
                </a:lnTo>
                <a:lnTo>
                  <a:pt x="32862" y="2365854"/>
                </a:lnTo>
                <a:lnTo>
                  <a:pt x="0" y="2365854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b="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533EE07-2FBB-4092-BBAD-58F3F7FA49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9" y="404814"/>
            <a:ext cx="5543550" cy="79216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lientitel einfügen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5A564327-5627-4C02-B0A2-65DB4E54DD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6400" y="1484313"/>
            <a:ext cx="5545137" cy="48974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301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+ 3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21951E-D998-406D-8DA3-CD1E5D0FB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55C038-ADBC-4355-B701-93788356F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EEAC42-F94F-4D9A-8CB5-ED46D3DC3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E6682B2-58C3-4744-98CC-164D60DB92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8822" y="5143743"/>
            <a:ext cx="3039616" cy="123800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E0B9D5DC-BB76-4D79-984A-1BD21804242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68822" y="1778000"/>
            <a:ext cx="3593030" cy="3222137"/>
          </a:xfrm>
          <a:custGeom>
            <a:avLst/>
            <a:gdLst>
              <a:gd name="connsiteX0" fmla="*/ 522666 w 3331274"/>
              <a:gd name="connsiteY0" fmla="*/ 0 h 2987401"/>
              <a:gd name="connsiteX1" fmla="*/ 3331274 w 3331274"/>
              <a:gd name="connsiteY1" fmla="*/ 0 h 2987401"/>
              <a:gd name="connsiteX2" fmla="*/ 2808609 w 3331274"/>
              <a:gd name="connsiteY2" fmla="*/ 2987401 h 2987401"/>
              <a:gd name="connsiteX3" fmla="*/ 2774529 w 3331274"/>
              <a:gd name="connsiteY3" fmla="*/ 2987401 h 2987401"/>
              <a:gd name="connsiteX4" fmla="*/ 2575738 w 3331274"/>
              <a:gd name="connsiteY4" fmla="*/ 2987401 h 2987401"/>
              <a:gd name="connsiteX5" fmla="*/ 2343818 w 3331274"/>
              <a:gd name="connsiteY5" fmla="*/ 2987401 h 2987401"/>
              <a:gd name="connsiteX6" fmla="*/ 1052481 w 3331274"/>
              <a:gd name="connsiteY6" fmla="*/ 2987401 h 2987401"/>
              <a:gd name="connsiteX7" fmla="*/ 820563 w 3331274"/>
              <a:gd name="connsiteY7" fmla="*/ 2987401 h 2987401"/>
              <a:gd name="connsiteX8" fmla="*/ 701310 w 3331274"/>
              <a:gd name="connsiteY8" fmla="*/ 2987401 h 2987401"/>
              <a:gd name="connsiteX9" fmla="*/ 621771 w 3331274"/>
              <a:gd name="connsiteY9" fmla="*/ 2987401 h 2987401"/>
              <a:gd name="connsiteX10" fmla="*/ 469392 w 3331274"/>
              <a:gd name="connsiteY10" fmla="*/ 2987401 h 2987401"/>
              <a:gd name="connsiteX11" fmla="*/ 397239 w 3331274"/>
              <a:gd name="connsiteY11" fmla="*/ 2987401 h 2987401"/>
              <a:gd name="connsiteX12" fmla="*/ 389851 w 3331274"/>
              <a:gd name="connsiteY12" fmla="*/ 2987401 h 2987401"/>
              <a:gd name="connsiteX13" fmla="*/ 270600 w 3331274"/>
              <a:gd name="connsiteY13" fmla="*/ 2987401 h 2987401"/>
              <a:gd name="connsiteX14" fmla="*/ 231920 w 3331274"/>
              <a:gd name="connsiteY14" fmla="*/ 2987401 h 2987401"/>
              <a:gd name="connsiteX15" fmla="*/ 165321 w 3331274"/>
              <a:gd name="connsiteY15" fmla="*/ 2987401 h 2987401"/>
              <a:gd name="connsiteX16" fmla="*/ 38682 w 3331274"/>
              <a:gd name="connsiteY16" fmla="*/ 2987401 h 2987401"/>
              <a:gd name="connsiteX17" fmla="*/ 0 w 3331274"/>
              <a:gd name="connsiteY17" fmla="*/ 2987401 h 298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331274" h="2987401">
                <a:moveTo>
                  <a:pt x="522666" y="0"/>
                </a:moveTo>
                <a:lnTo>
                  <a:pt x="3331274" y="0"/>
                </a:lnTo>
                <a:lnTo>
                  <a:pt x="2808609" y="2987401"/>
                </a:lnTo>
                <a:lnTo>
                  <a:pt x="2774529" y="2987401"/>
                </a:lnTo>
                <a:lnTo>
                  <a:pt x="2575738" y="2987401"/>
                </a:lnTo>
                <a:lnTo>
                  <a:pt x="2343818" y="2987401"/>
                </a:lnTo>
                <a:lnTo>
                  <a:pt x="1052481" y="2987401"/>
                </a:lnTo>
                <a:lnTo>
                  <a:pt x="820563" y="2987401"/>
                </a:lnTo>
                <a:lnTo>
                  <a:pt x="701310" y="2987401"/>
                </a:lnTo>
                <a:lnTo>
                  <a:pt x="621771" y="2987401"/>
                </a:lnTo>
                <a:lnTo>
                  <a:pt x="469392" y="2987401"/>
                </a:lnTo>
                <a:lnTo>
                  <a:pt x="397239" y="2987401"/>
                </a:lnTo>
                <a:lnTo>
                  <a:pt x="389851" y="2987401"/>
                </a:lnTo>
                <a:lnTo>
                  <a:pt x="270600" y="2987401"/>
                </a:lnTo>
                <a:lnTo>
                  <a:pt x="231920" y="2987401"/>
                </a:lnTo>
                <a:lnTo>
                  <a:pt x="165321" y="2987401"/>
                </a:lnTo>
                <a:lnTo>
                  <a:pt x="38682" y="2987401"/>
                </a:lnTo>
                <a:lnTo>
                  <a:pt x="0" y="298740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A02012EF-5051-42EB-820C-56EB2E80F1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95775" y="5143743"/>
            <a:ext cx="3039616" cy="123800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F3A92CF8-88B6-4C84-BB98-E9E52D37D3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630148" y="5143743"/>
            <a:ext cx="3039616" cy="123800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15E2079-9F08-42B3-945B-0E582FB817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einfügen</a:t>
            </a:r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63B75228-B07A-41EC-8D61-F78DFF2BD03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303195" y="1778000"/>
            <a:ext cx="3593030" cy="3222137"/>
          </a:xfrm>
          <a:custGeom>
            <a:avLst/>
            <a:gdLst>
              <a:gd name="connsiteX0" fmla="*/ 522666 w 3331274"/>
              <a:gd name="connsiteY0" fmla="*/ 0 h 2987401"/>
              <a:gd name="connsiteX1" fmla="*/ 3331274 w 3331274"/>
              <a:gd name="connsiteY1" fmla="*/ 0 h 2987401"/>
              <a:gd name="connsiteX2" fmla="*/ 2808609 w 3331274"/>
              <a:gd name="connsiteY2" fmla="*/ 2987401 h 2987401"/>
              <a:gd name="connsiteX3" fmla="*/ 2774529 w 3331274"/>
              <a:gd name="connsiteY3" fmla="*/ 2987401 h 2987401"/>
              <a:gd name="connsiteX4" fmla="*/ 2575738 w 3331274"/>
              <a:gd name="connsiteY4" fmla="*/ 2987401 h 2987401"/>
              <a:gd name="connsiteX5" fmla="*/ 2343818 w 3331274"/>
              <a:gd name="connsiteY5" fmla="*/ 2987401 h 2987401"/>
              <a:gd name="connsiteX6" fmla="*/ 1052481 w 3331274"/>
              <a:gd name="connsiteY6" fmla="*/ 2987401 h 2987401"/>
              <a:gd name="connsiteX7" fmla="*/ 820563 w 3331274"/>
              <a:gd name="connsiteY7" fmla="*/ 2987401 h 2987401"/>
              <a:gd name="connsiteX8" fmla="*/ 701310 w 3331274"/>
              <a:gd name="connsiteY8" fmla="*/ 2987401 h 2987401"/>
              <a:gd name="connsiteX9" fmla="*/ 621771 w 3331274"/>
              <a:gd name="connsiteY9" fmla="*/ 2987401 h 2987401"/>
              <a:gd name="connsiteX10" fmla="*/ 469392 w 3331274"/>
              <a:gd name="connsiteY10" fmla="*/ 2987401 h 2987401"/>
              <a:gd name="connsiteX11" fmla="*/ 397239 w 3331274"/>
              <a:gd name="connsiteY11" fmla="*/ 2987401 h 2987401"/>
              <a:gd name="connsiteX12" fmla="*/ 389851 w 3331274"/>
              <a:gd name="connsiteY12" fmla="*/ 2987401 h 2987401"/>
              <a:gd name="connsiteX13" fmla="*/ 270600 w 3331274"/>
              <a:gd name="connsiteY13" fmla="*/ 2987401 h 2987401"/>
              <a:gd name="connsiteX14" fmla="*/ 231920 w 3331274"/>
              <a:gd name="connsiteY14" fmla="*/ 2987401 h 2987401"/>
              <a:gd name="connsiteX15" fmla="*/ 165321 w 3331274"/>
              <a:gd name="connsiteY15" fmla="*/ 2987401 h 2987401"/>
              <a:gd name="connsiteX16" fmla="*/ 38682 w 3331274"/>
              <a:gd name="connsiteY16" fmla="*/ 2987401 h 2987401"/>
              <a:gd name="connsiteX17" fmla="*/ 0 w 3331274"/>
              <a:gd name="connsiteY17" fmla="*/ 2987401 h 298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331274" h="2987401">
                <a:moveTo>
                  <a:pt x="522666" y="0"/>
                </a:moveTo>
                <a:lnTo>
                  <a:pt x="3331274" y="0"/>
                </a:lnTo>
                <a:lnTo>
                  <a:pt x="2808609" y="2987401"/>
                </a:lnTo>
                <a:lnTo>
                  <a:pt x="2774529" y="2987401"/>
                </a:lnTo>
                <a:lnTo>
                  <a:pt x="2575738" y="2987401"/>
                </a:lnTo>
                <a:lnTo>
                  <a:pt x="2343818" y="2987401"/>
                </a:lnTo>
                <a:lnTo>
                  <a:pt x="1052481" y="2987401"/>
                </a:lnTo>
                <a:lnTo>
                  <a:pt x="820563" y="2987401"/>
                </a:lnTo>
                <a:lnTo>
                  <a:pt x="701310" y="2987401"/>
                </a:lnTo>
                <a:lnTo>
                  <a:pt x="621771" y="2987401"/>
                </a:lnTo>
                <a:lnTo>
                  <a:pt x="469392" y="2987401"/>
                </a:lnTo>
                <a:lnTo>
                  <a:pt x="397239" y="2987401"/>
                </a:lnTo>
                <a:lnTo>
                  <a:pt x="389851" y="2987401"/>
                </a:lnTo>
                <a:lnTo>
                  <a:pt x="270600" y="2987401"/>
                </a:lnTo>
                <a:lnTo>
                  <a:pt x="231920" y="2987401"/>
                </a:lnTo>
                <a:lnTo>
                  <a:pt x="165321" y="2987401"/>
                </a:lnTo>
                <a:lnTo>
                  <a:pt x="38682" y="2987401"/>
                </a:lnTo>
                <a:lnTo>
                  <a:pt x="0" y="298740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8A925DDD-FC71-4E3B-AD70-B80F94C28B8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630148" y="1778000"/>
            <a:ext cx="3593030" cy="3222137"/>
          </a:xfrm>
          <a:custGeom>
            <a:avLst/>
            <a:gdLst>
              <a:gd name="connsiteX0" fmla="*/ 522666 w 3331274"/>
              <a:gd name="connsiteY0" fmla="*/ 0 h 2987401"/>
              <a:gd name="connsiteX1" fmla="*/ 3331274 w 3331274"/>
              <a:gd name="connsiteY1" fmla="*/ 0 h 2987401"/>
              <a:gd name="connsiteX2" fmla="*/ 2808609 w 3331274"/>
              <a:gd name="connsiteY2" fmla="*/ 2987401 h 2987401"/>
              <a:gd name="connsiteX3" fmla="*/ 2774529 w 3331274"/>
              <a:gd name="connsiteY3" fmla="*/ 2987401 h 2987401"/>
              <a:gd name="connsiteX4" fmla="*/ 2575738 w 3331274"/>
              <a:gd name="connsiteY4" fmla="*/ 2987401 h 2987401"/>
              <a:gd name="connsiteX5" fmla="*/ 2343818 w 3331274"/>
              <a:gd name="connsiteY5" fmla="*/ 2987401 h 2987401"/>
              <a:gd name="connsiteX6" fmla="*/ 1052481 w 3331274"/>
              <a:gd name="connsiteY6" fmla="*/ 2987401 h 2987401"/>
              <a:gd name="connsiteX7" fmla="*/ 820563 w 3331274"/>
              <a:gd name="connsiteY7" fmla="*/ 2987401 h 2987401"/>
              <a:gd name="connsiteX8" fmla="*/ 701310 w 3331274"/>
              <a:gd name="connsiteY8" fmla="*/ 2987401 h 2987401"/>
              <a:gd name="connsiteX9" fmla="*/ 621771 w 3331274"/>
              <a:gd name="connsiteY9" fmla="*/ 2987401 h 2987401"/>
              <a:gd name="connsiteX10" fmla="*/ 469392 w 3331274"/>
              <a:gd name="connsiteY10" fmla="*/ 2987401 h 2987401"/>
              <a:gd name="connsiteX11" fmla="*/ 397239 w 3331274"/>
              <a:gd name="connsiteY11" fmla="*/ 2987401 h 2987401"/>
              <a:gd name="connsiteX12" fmla="*/ 389851 w 3331274"/>
              <a:gd name="connsiteY12" fmla="*/ 2987401 h 2987401"/>
              <a:gd name="connsiteX13" fmla="*/ 270600 w 3331274"/>
              <a:gd name="connsiteY13" fmla="*/ 2987401 h 2987401"/>
              <a:gd name="connsiteX14" fmla="*/ 231920 w 3331274"/>
              <a:gd name="connsiteY14" fmla="*/ 2987401 h 2987401"/>
              <a:gd name="connsiteX15" fmla="*/ 165321 w 3331274"/>
              <a:gd name="connsiteY15" fmla="*/ 2987401 h 2987401"/>
              <a:gd name="connsiteX16" fmla="*/ 38682 w 3331274"/>
              <a:gd name="connsiteY16" fmla="*/ 2987401 h 2987401"/>
              <a:gd name="connsiteX17" fmla="*/ 0 w 3331274"/>
              <a:gd name="connsiteY17" fmla="*/ 2987401 h 298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331274" h="2987401">
                <a:moveTo>
                  <a:pt x="522666" y="0"/>
                </a:moveTo>
                <a:lnTo>
                  <a:pt x="3331274" y="0"/>
                </a:lnTo>
                <a:lnTo>
                  <a:pt x="2808609" y="2987401"/>
                </a:lnTo>
                <a:lnTo>
                  <a:pt x="2774529" y="2987401"/>
                </a:lnTo>
                <a:lnTo>
                  <a:pt x="2575738" y="2987401"/>
                </a:lnTo>
                <a:lnTo>
                  <a:pt x="2343818" y="2987401"/>
                </a:lnTo>
                <a:lnTo>
                  <a:pt x="1052481" y="2987401"/>
                </a:lnTo>
                <a:lnTo>
                  <a:pt x="820563" y="2987401"/>
                </a:lnTo>
                <a:lnTo>
                  <a:pt x="701310" y="2987401"/>
                </a:lnTo>
                <a:lnTo>
                  <a:pt x="621771" y="2987401"/>
                </a:lnTo>
                <a:lnTo>
                  <a:pt x="469392" y="2987401"/>
                </a:lnTo>
                <a:lnTo>
                  <a:pt x="397239" y="2987401"/>
                </a:lnTo>
                <a:lnTo>
                  <a:pt x="389851" y="2987401"/>
                </a:lnTo>
                <a:lnTo>
                  <a:pt x="270600" y="2987401"/>
                </a:lnTo>
                <a:lnTo>
                  <a:pt x="231920" y="2987401"/>
                </a:lnTo>
                <a:lnTo>
                  <a:pt x="165321" y="2987401"/>
                </a:lnTo>
                <a:lnTo>
                  <a:pt x="38682" y="2987401"/>
                </a:lnTo>
                <a:lnTo>
                  <a:pt x="0" y="298740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</p:spTree>
    <p:extLst>
      <p:ext uri="{BB962C8B-B14F-4D97-AF65-F5344CB8AC3E}">
        <p14:creationId xmlns:p14="http://schemas.microsoft.com/office/powerpoint/2010/main" val="2278017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CF5DAB4C-D03F-4FC6-B333-C988F828B7B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611958" cy="6858000"/>
          </a:xfrm>
          <a:custGeom>
            <a:avLst/>
            <a:gdLst>
              <a:gd name="connsiteX0" fmla="*/ 0 w 1611958"/>
              <a:gd name="connsiteY0" fmla="*/ 0 h 6858000"/>
              <a:gd name="connsiteX1" fmla="*/ 1611958 w 1611958"/>
              <a:gd name="connsiteY1" fmla="*/ 0 h 6858000"/>
              <a:gd name="connsiteX2" fmla="*/ 412108 w 1611958"/>
              <a:gd name="connsiteY2" fmla="*/ 6858000 h 6858000"/>
              <a:gd name="connsiteX3" fmla="*/ 0 w 161195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1958" h="6858000">
                <a:moveTo>
                  <a:pt x="0" y="0"/>
                </a:moveTo>
                <a:lnTo>
                  <a:pt x="1611958" y="0"/>
                </a:lnTo>
                <a:lnTo>
                  <a:pt x="412108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 bIns="756000" anchor="ctr">
            <a:noAutofit/>
          </a:bodyPr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6400" y="2595298"/>
            <a:ext cx="11374560" cy="3786452"/>
          </a:xfrm>
        </p:spPr>
        <p:txBody>
          <a:bodyPr lIns="1512000" tIns="288000" rIns="0" bIns="169276" anchor="t" anchorCtr="0">
            <a:noAutofit/>
          </a:bodyPr>
          <a:lstStyle>
            <a:lvl1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1pPr>
            <a:lvl2pPr marL="719756" indent="-241219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§"/>
              <a:defRPr sz="1400" b="0" baseline="0">
                <a:solidFill>
                  <a:schemeClr val="tx2"/>
                </a:solidFill>
              </a:defRPr>
            </a:lvl2pPr>
            <a:lvl3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3pPr>
            <a:lvl4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4pPr>
            <a:lvl5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 baseline="0">
                <a:solidFill>
                  <a:schemeClr val="tx2"/>
                </a:solidFill>
              </a:defRPr>
            </a:lvl5pPr>
            <a:lvl6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6pPr>
            <a:lvl7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7pPr>
            <a:lvl8pPr marL="479838" indent="-47983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+mj-lt"/>
              <a:buAutoNum type="arabicPeriod"/>
              <a:defRPr sz="2600" b="0">
                <a:solidFill>
                  <a:schemeClr val="bg2"/>
                </a:solidFill>
              </a:defRPr>
            </a:lvl8pPr>
            <a:lvl9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</a:t>
            </a:r>
          </a:p>
          <a:p>
            <a:pPr lvl="1"/>
            <a:r>
              <a:rPr lang="de-DE" dirty="0"/>
              <a:t>Unterpunkt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2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>
          <a:xfrm>
            <a:off x="10017438" y="6982584"/>
            <a:ext cx="1391970" cy="260350"/>
          </a:xfrm>
        </p:spPr>
        <p:txBody>
          <a:bodyPr/>
          <a:lstStyle/>
          <a:p>
            <a:fld id="{0A53F34A-1776-4CF9-A7B7-801786891889}" type="datetime1">
              <a:rPr lang="de-DE" smtClean="0"/>
              <a:t>03.03.22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406454" y="6982583"/>
            <a:ext cx="7489213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>
          <a:xfrm>
            <a:off x="11409406" y="6982582"/>
            <a:ext cx="37155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uppieren 8"/>
          <p:cNvGrpSpPr/>
          <p:nvPr userDrawn="1"/>
        </p:nvGrpSpPr>
        <p:grpSpPr bwMode="gray">
          <a:xfrm>
            <a:off x="10566602" y="490326"/>
            <a:ext cx="1214480" cy="484470"/>
            <a:chOff x="-64593788" y="4924426"/>
            <a:chExt cx="63238063" cy="25223786"/>
          </a:xfrm>
        </p:grpSpPr>
        <p:sp>
          <p:nvSpPr>
            <p:cNvPr id="10" name="Freeform 7"/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Rectangle 8"/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Rectangle 9"/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16"/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7"/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8"/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19"/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0"/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1"/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2"/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3"/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4"/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5"/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6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7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Freeform 28"/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Freeform 29"/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07F4C0C2-07EF-41AA-A6CF-8EE911E64D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399" y="1484313"/>
            <a:ext cx="11377613" cy="792559"/>
          </a:xfrm>
        </p:spPr>
        <p:txBody>
          <a:bodyPr lIns="1512000" tIns="72000" anchor="b"/>
          <a:lstStyle>
            <a:lvl1pPr>
              <a:defRPr sz="5200"/>
            </a:lvl1pPr>
          </a:lstStyle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1357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+ 5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21951E-D998-406D-8DA3-CD1E5D0FB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55C038-ADBC-4355-B701-93788356F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EEAC42-F94F-4D9A-8CB5-ED46D3DC3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15E2079-9F08-42B3-945B-0E582FB817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einfügen</a:t>
            </a:r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0973384C-5030-4064-818A-685C4CDE735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11860" y="1777997"/>
            <a:ext cx="2484303" cy="2537931"/>
          </a:xfrm>
          <a:custGeom>
            <a:avLst/>
            <a:gdLst>
              <a:gd name="connsiteX0" fmla="*/ 438659 w 2454262"/>
              <a:gd name="connsiteY0" fmla="*/ 0 h 2507241"/>
              <a:gd name="connsiteX1" fmla="*/ 2454262 w 2454262"/>
              <a:gd name="connsiteY1" fmla="*/ 0 h 2507241"/>
              <a:gd name="connsiteX2" fmla="*/ 2015603 w 2454262"/>
              <a:gd name="connsiteY2" fmla="*/ 2507241 h 2507241"/>
              <a:gd name="connsiteX3" fmla="*/ 1967100 w 2454262"/>
              <a:gd name="connsiteY3" fmla="*/ 2507241 h 2507241"/>
              <a:gd name="connsiteX4" fmla="*/ 883318 w 2454262"/>
              <a:gd name="connsiteY4" fmla="*/ 2507241 h 2507241"/>
              <a:gd name="connsiteX5" fmla="*/ 688675 w 2454262"/>
              <a:gd name="connsiteY5" fmla="*/ 2507241 h 2507241"/>
              <a:gd name="connsiteX6" fmla="*/ 588590 w 2454262"/>
              <a:gd name="connsiteY6" fmla="*/ 2507241 h 2507241"/>
              <a:gd name="connsiteX7" fmla="*/ 521835 w 2454262"/>
              <a:gd name="connsiteY7" fmla="*/ 2507241 h 2507241"/>
              <a:gd name="connsiteX8" fmla="*/ 393948 w 2454262"/>
              <a:gd name="connsiteY8" fmla="*/ 2507241 h 2507241"/>
              <a:gd name="connsiteX9" fmla="*/ 333392 w 2454262"/>
              <a:gd name="connsiteY9" fmla="*/ 2507241 h 2507241"/>
              <a:gd name="connsiteX10" fmla="*/ 327191 w 2454262"/>
              <a:gd name="connsiteY10" fmla="*/ 2507241 h 2507241"/>
              <a:gd name="connsiteX11" fmla="*/ 227107 w 2454262"/>
              <a:gd name="connsiteY11" fmla="*/ 2507241 h 2507241"/>
              <a:gd name="connsiteX12" fmla="*/ 194644 w 2454262"/>
              <a:gd name="connsiteY12" fmla="*/ 2507241 h 2507241"/>
              <a:gd name="connsiteX13" fmla="*/ 138749 w 2454262"/>
              <a:gd name="connsiteY13" fmla="*/ 2507241 h 2507241"/>
              <a:gd name="connsiteX14" fmla="*/ 32465 w 2454262"/>
              <a:gd name="connsiteY14" fmla="*/ 2507241 h 2507241"/>
              <a:gd name="connsiteX15" fmla="*/ 0 w 2454262"/>
              <a:gd name="connsiteY15" fmla="*/ 2507241 h 250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54262" h="2507241">
                <a:moveTo>
                  <a:pt x="438659" y="0"/>
                </a:moveTo>
                <a:lnTo>
                  <a:pt x="2454262" y="0"/>
                </a:lnTo>
                <a:lnTo>
                  <a:pt x="2015603" y="2507241"/>
                </a:lnTo>
                <a:lnTo>
                  <a:pt x="1967100" y="2507241"/>
                </a:lnTo>
                <a:lnTo>
                  <a:pt x="883318" y="2507241"/>
                </a:lnTo>
                <a:lnTo>
                  <a:pt x="688675" y="2507241"/>
                </a:lnTo>
                <a:lnTo>
                  <a:pt x="588590" y="2507241"/>
                </a:lnTo>
                <a:lnTo>
                  <a:pt x="521835" y="2507241"/>
                </a:lnTo>
                <a:lnTo>
                  <a:pt x="393948" y="2507241"/>
                </a:lnTo>
                <a:lnTo>
                  <a:pt x="333392" y="2507241"/>
                </a:lnTo>
                <a:lnTo>
                  <a:pt x="327191" y="2507241"/>
                </a:lnTo>
                <a:lnTo>
                  <a:pt x="227107" y="2507241"/>
                </a:lnTo>
                <a:lnTo>
                  <a:pt x="194644" y="2507241"/>
                </a:lnTo>
                <a:lnTo>
                  <a:pt x="138749" y="2507241"/>
                </a:lnTo>
                <a:lnTo>
                  <a:pt x="32465" y="2507241"/>
                </a:lnTo>
                <a:lnTo>
                  <a:pt x="0" y="250724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2ACF3813-D7A3-487F-A46D-491AEDABE9A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634027" y="1777997"/>
            <a:ext cx="2484303" cy="2537931"/>
          </a:xfrm>
          <a:custGeom>
            <a:avLst/>
            <a:gdLst>
              <a:gd name="connsiteX0" fmla="*/ 438659 w 2454262"/>
              <a:gd name="connsiteY0" fmla="*/ 0 h 2507241"/>
              <a:gd name="connsiteX1" fmla="*/ 2454262 w 2454262"/>
              <a:gd name="connsiteY1" fmla="*/ 0 h 2507241"/>
              <a:gd name="connsiteX2" fmla="*/ 2015603 w 2454262"/>
              <a:gd name="connsiteY2" fmla="*/ 2507241 h 2507241"/>
              <a:gd name="connsiteX3" fmla="*/ 1967100 w 2454262"/>
              <a:gd name="connsiteY3" fmla="*/ 2507241 h 2507241"/>
              <a:gd name="connsiteX4" fmla="*/ 883318 w 2454262"/>
              <a:gd name="connsiteY4" fmla="*/ 2507241 h 2507241"/>
              <a:gd name="connsiteX5" fmla="*/ 688675 w 2454262"/>
              <a:gd name="connsiteY5" fmla="*/ 2507241 h 2507241"/>
              <a:gd name="connsiteX6" fmla="*/ 588590 w 2454262"/>
              <a:gd name="connsiteY6" fmla="*/ 2507241 h 2507241"/>
              <a:gd name="connsiteX7" fmla="*/ 521835 w 2454262"/>
              <a:gd name="connsiteY7" fmla="*/ 2507241 h 2507241"/>
              <a:gd name="connsiteX8" fmla="*/ 393948 w 2454262"/>
              <a:gd name="connsiteY8" fmla="*/ 2507241 h 2507241"/>
              <a:gd name="connsiteX9" fmla="*/ 333392 w 2454262"/>
              <a:gd name="connsiteY9" fmla="*/ 2507241 h 2507241"/>
              <a:gd name="connsiteX10" fmla="*/ 327191 w 2454262"/>
              <a:gd name="connsiteY10" fmla="*/ 2507241 h 2507241"/>
              <a:gd name="connsiteX11" fmla="*/ 227107 w 2454262"/>
              <a:gd name="connsiteY11" fmla="*/ 2507241 h 2507241"/>
              <a:gd name="connsiteX12" fmla="*/ 194644 w 2454262"/>
              <a:gd name="connsiteY12" fmla="*/ 2507241 h 2507241"/>
              <a:gd name="connsiteX13" fmla="*/ 138749 w 2454262"/>
              <a:gd name="connsiteY13" fmla="*/ 2507241 h 2507241"/>
              <a:gd name="connsiteX14" fmla="*/ 32465 w 2454262"/>
              <a:gd name="connsiteY14" fmla="*/ 2507241 h 2507241"/>
              <a:gd name="connsiteX15" fmla="*/ 0 w 2454262"/>
              <a:gd name="connsiteY15" fmla="*/ 2507241 h 250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54262" h="2507241">
                <a:moveTo>
                  <a:pt x="438659" y="0"/>
                </a:moveTo>
                <a:lnTo>
                  <a:pt x="2454262" y="0"/>
                </a:lnTo>
                <a:lnTo>
                  <a:pt x="2015603" y="2507241"/>
                </a:lnTo>
                <a:lnTo>
                  <a:pt x="1967100" y="2507241"/>
                </a:lnTo>
                <a:lnTo>
                  <a:pt x="883318" y="2507241"/>
                </a:lnTo>
                <a:lnTo>
                  <a:pt x="688675" y="2507241"/>
                </a:lnTo>
                <a:lnTo>
                  <a:pt x="588590" y="2507241"/>
                </a:lnTo>
                <a:lnTo>
                  <a:pt x="521835" y="2507241"/>
                </a:lnTo>
                <a:lnTo>
                  <a:pt x="393948" y="2507241"/>
                </a:lnTo>
                <a:lnTo>
                  <a:pt x="333392" y="2507241"/>
                </a:lnTo>
                <a:lnTo>
                  <a:pt x="327191" y="2507241"/>
                </a:lnTo>
                <a:lnTo>
                  <a:pt x="227107" y="2507241"/>
                </a:lnTo>
                <a:lnTo>
                  <a:pt x="194644" y="2507241"/>
                </a:lnTo>
                <a:lnTo>
                  <a:pt x="138749" y="2507241"/>
                </a:lnTo>
                <a:lnTo>
                  <a:pt x="32465" y="2507241"/>
                </a:lnTo>
                <a:lnTo>
                  <a:pt x="0" y="250724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7EBABA14-C453-4E60-AEF1-F6B36AACA42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56194" y="1777997"/>
            <a:ext cx="2484303" cy="2537931"/>
          </a:xfrm>
          <a:custGeom>
            <a:avLst/>
            <a:gdLst>
              <a:gd name="connsiteX0" fmla="*/ 438659 w 2454262"/>
              <a:gd name="connsiteY0" fmla="*/ 0 h 2507241"/>
              <a:gd name="connsiteX1" fmla="*/ 2454262 w 2454262"/>
              <a:gd name="connsiteY1" fmla="*/ 0 h 2507241"/>
              <a:gd name="connsiteX2" fmla="*/ 2015603 w 2454262"/>
              <a:gd name="connsiteY2" fmla="*/ 2507241 h 2507241"/>
              <a:gd name="connsiteX3" fmla="*/ 1967100 w 2454262"/>
              <a:gd name="connsiteY3" fmla="*/ 2507241 h 2507241"/>
              <a:gd name="connsiteX4" fmla="*/ 883318 w 2454262"/>
              <a:gd name="connsiteY4" fmla="*/ 2507241 h 2507241"/>
              <a:gd name="connsiteX5" fmla="*/ 688675 w 2454262"/>
              <a:gd name="connsiteY5" fmla="*/ 2507241 h 2507241"/>
              <a:gd name="connsiteX6" fmla="*/ 588590 w 2454262"/>
              <a:gd name="connsiteY6" fmla="*/ 2507241 h 2507241"/>
              <a:gd name="connsiteX7" fmla="*/ 521835 w 2454262"/>
              <a:gd name="connsiteY7" fmla="*/ 2507241 h 2507241"/>
              <a:gd name="connsiteX8" fmla="*/ 393948 w 2454262"/>
              <a:gd name="connsiteY8" fmla="*/ 2507241 h 2507241"/>
              <a:gd name="connsiteX9" fmla="*/ 333392 w 2454262"/>
              <a:gd name="connsiteY9" fmla="*/ 2507241 h 2507241"/>
              <a:gd name="connsiteX10" fmla="*/ 327191 w 2454262"/>
              <a:gd name="connsiteY10" fmla="*/ 2507241 h 2507241"/>
              <a:gd name="connsiteX11" fmla="*/ 227107 w 2454262"/>
              <a:gd name="connsiteY11" fmla="*/ 2507241 h 2507241"/>
              <a:gd name="connsiteX12" fmla="*/ 194644 w 2454262"/>
              <a:gd name="connsiteY12" fmla="*/ 2507241 h 2507241"/>
              <a:gd name="connsiteX13" fmla="*/ 138749 w 2454262"/>
              <a:gd name="connsiteY13" fmla="*/ 2507241 h 2507241"/>
              <a:gd name="connsiteX14" fmla="*/ 32465 w 2454262"/>
              <a:gd name="connsiteY14" fmla="*/ 2507241 h 2507241"/>
              <a:gd name="connsiteX15" fmla="*/ 0 w 2454262"/>
              <a:gd name="connsiteY15" fmla="*/ 2507241 h 250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54262" h="2507241">
                <a:moveTo>
                  <a:pt x="438659" y="0"/>
                </a:moveTo>
                <a:lnTo>
                  <a:pt x="2454262" y="0"/>
                </a:lnTo>
                <a:lnTo>
                  <a:pt x="2015603" y="2507241"/>
                </a:lnTo>
                <a:lnTo>
                  <a:pt x="1967100" y="2507241"/>
                </a:lnTo>
                <a:lnTo>
                  <a:pt x="883318" y="2507241"/>
                </a:lnTo>
                <a:lnTo>
                  <a:pt x="688675" y="2507241"/>
                </a:lnTo>
                <a:lnTo>
                  <a:pt x="588590" y="2507241"/>
                </a:lnTo>
                <a:lnTo>
                  <a:pt x="521835" y="2507241"/>
                </a:lnTo>
                <a:lnTo>
                  <a:pt x="393948" y="2507241"/>
                </a:lnTo>
                <a:lnTo>
                  <a:pt x="333392" y="2507241"/>
                </a:lnTo>
                <a:lnTo>
                  <a:pt x="327191" y="2507241"/>
                </a:lnTo>
                <a:lnTo>
                  <a:pt x="227107" y="2507241"/>
                </a:lnTo>
                <a:lnTo>
                  <a:pt x="194644" y="2507241"/>
                </a:lnTo>
                <a:lnTo>
                  <a:pt x="138749" y="2507241"/>
                </a:lnTo>
                <a:lnTo>
                  <a:pt x="32465" y="2507241"/>
                </a:lnTo>
                <a:lnTo>
                  <a:pt x="0" y="250724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F78DD2E2-0581-4D4D-8374-138770EED55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078361" y="1777997"/>
            <a:ext cx="2484303" cy="2537931"/>
          </a:xfrm>
          <a:custGeom>
            <a:avLst/>
            <a:gdLst>
              <a:gd name="connsiteX0" fmla="*/ 438659 w 2454262"/>
              <a:gd name="connsiteY0" fmla="*/ 0 h 2507241"/>
              <a:gd name="connsiteX1" fmla="*/ 2454262 w 2454262"/>
              <a:gd name="connsiteY1" fmla="*/ 0 h 2507241"/>
              <a:gd name="connsiteX2" fmla="*/ 2015603 w 2454262"/>
              <a:gd name="connsiteY2" fmla="*/ 2507241 h 2507241"/>
              <a:gd name="connsiteX3" fmla="*/ 1967100 w 2454262"/>
              <a:gd name="connsiteY3" fmla="*/ 2507241 h 2507241"/>
              <a:gd name="connsiteX4" fmla="*/ 883318 w 2454262"/>
              <a:gd name="connsiteY4" fmla="*/ 2507241 h 2507241"/>
              <a:gd name="connsiteX5" fmla="*/ 688675 w 2454262"/>
              <a:gd name="connsiteY5" fmla="*/ 2507241 h 2507241"/>
              <a:gd name="connsiteX6" fmla="*/ 588590 w 2454262"/>
              <a:gd name="connsiteY6" fmla="*/ 2507241 h 2507241"/>
              <a:gd name="connsiteX7" fmla="*/ 521835 w 2454262"/>
              <a:gd name="connsiteY7" fmla="*/ 2507241 h 2507241"/>
              <a:gd name="connsiteX8" fmla="*/ 393948 w 2454262"/>
              <a:gd name="connsiteY8" fmla="*/ 2507241 h 2507241"/>
              <a:gd name="connsiteX9" fmla="*/ 333392 w 2454262"/>
              <a:gd name="connsiteY9" fmla="*/ 2507241 h 2507241"/>
              <a:gd name="connsiteX10" fmla="*/ 327191 w 2454262"/>
              <a:gd name="connsiteY10" fmla="*/ 2507241 h 2507241"/>
              <a:gd name="connsiteX11" fmla="*/ 227107 w 2454262"/>
              <a:gd name="connsiteY11" fmla="*/ 2507241 h 2507241"/>
              <a:gd name="connsiteX12" fmla="*/ 194644 w 2454262"/>
              <a:gd name="connsiteY12" fmla="*/ 2507241 h 2507241"/>
              <a:gd name="connsiteX13" fmla="*/ 138749 w 2454262"/>
              <a:gd name="connsiteY13" fmla="*/ 2507241 h 2507241"/>
              <a:gd name="connsiteX14" fmla="*/ 32465 w 2454262"/>
              <a:gd name="connsiteY14" fmla="*/ 2507241 h 2507241"/>
              <a:gd name="connsiteX15" fmla="*/ 0 w 2454262"/>
              <a:gd name="connsiteY15" fmla="*/ 2507241 h 250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54262" h="2507241">
                <a:moveTo>
                  <a:pt x="438659" y="0"/>
                </a:moveTo>
                <a:lnTo>
                  <a:pt x="2454262" y="0"/>
                </a:lnTo>
                <a:lnTo>
                  <a:pt x="2015603" y="2507241"/>
                </a:lnTo>
                <a:lnTo>
                  <a:pt x="1967100" y="2507241"/>
                </a:lnTo>
                <a:lnTo>
                  <a:pt x="883318" y="2507241"/>
                </a:lnTo>
                <a:lnTo>
                  <a:pt x="688675" y="2507241"/>
                </a:lnTo>
                <a:lnTo>
                  <a:pt x="588590" y="2507241"/>
                </a:lnTo>
                <a:lnTo>
                  <a:pt x="521835" y="2507241"/>
                </a:lnTo>
                <a:lnTo>
                  <a:pt x="393948" y="2507241"/>
                </a:lnTo>
                <a:lnTo>
                  <a:pt x="333392" y="2507241"/>
                </a:lnTo>
                <a:lnTo>
                  <a:pt x="327191" y="2507241"/>
                </a:lnTo>
                <a:lnTo>
                  <a:pt x="227107" y="2507241"/>
                </a:lnTo>
                <a:lnTo>
                  <a:pt x="194644" y="2507241"/>
                </a:lnTo>
                <a:lnTo>
                  <a:pt x="138749" y="2507241"/>
                </a:lnTo>
                <a:lnTo>
                  <a:pt x="32465" y="2507241"/>
                </a:lnTo>
                <a:lnTo>
                  <a:pt x="0" y="250724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b="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42" name="Bildplatzhalter 41">
            <a:extLst>
              <a:ext uri="{FF2B5EF4-FFF2-40B4-BE49-F238E27FC236}">
                <a16:creationId xmlns:a16="http://schemas.microsoft.com/office/drawing/2014/main" id="{6CEA6650-3BBE-45F5-AADE-E2674CBE73A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00529" y="1777997"/>
            <a:ext cx="2484303" cy="2537931"/>
          </a:xfrm>
          <a:custGeom>
            <a:avLst/>
            <a:gdLst>
              <a:gd name="connsiteX0" fmla="*/ 438659 w 2454262"/>
              <a:gd name="connsiteY0" fmla="*/ 0 h 2507241"/>
              <a:gd name="connsiteX1" fmla="*/ 2454262 w 2454262"/>
              <a:gd name="connsiteY1" fmla="*/ 0 h 2507241"/>
              <a:gd name="connsiteX2" fmla="*/ 2015603 w 2454262"/>
              <a:gd name="connsiteY2" fmla="*/ 2507241 h 2507241"/>
              <a:gd name="connsiteX3" fmla="*/ 1967100 w 2454262"/>
              <a:gd name="connsiteY3" fmla="*/ 2507241 h 2507241"/>
              <a:gd name="connsiteX4" fmla="*/ 883318 w 2454262"/>
              <a:gd name="connsiteY4" fmla="*/ 2507241 h 2507241"/>
              <a:gd name="connsiteX5" fmla="*/ 688675 w 2454262"/>
              <a:gd name="connsiteY5" fmla="*/ 2507241 h 2507241"/>
              <a:gd name="connsiteX6" fmla="*/ 588590 w 2454262"/>
              <a:gd name="connsiteY6" fmla="*/ 2507241 h 2507241"/>
              <a:gd name="connsiteX7" fmla="*/ 521835 w 2454262"/>
              <a:gd name="connsiteY7" fmla="*/ 2507241 h 2507241"/>
              <a:gd name="connsiteX8" fmla="*/ 393948 w 2454262"/>
              <a:gd name="connsiteY8" fmla="*/ 2507241 h 2507241"/>
              <a:gd name="connsiteX9" fmla="*/ 333392 w 2454262"/>
              <a:gd name="connsiteY9" fmla="*/ 2507241 h 2507241"/>
              <a:gd name="connsiteX10" fmla="*/ 327191 w 2454262"/>
              <a:gd name="connsiteY10" fmla="*/ 2507241 h 2507241"/>
              <a:gd name="connsiteX11" fmla="*/ 227107 w 2454262"/>
              <a:gd name="connsiteY11" fmla="*/ 2507241 h 2507241"/>
              <a:gd name="connsiteX12" fmla="*/ 194644 w 2454262"/>
              <a:gd name="connsiteY12" fmla="*/ 2507241 h 2507241"/>
              <a:gd name="connsiteX13" fmla="*/ 138749 w 2454262"/>
              <a:gd name="connsiteY13" fmla="*/ 2507241 h 2507241"/>
              <a:gd name="connsiteX14" fmla="*/ 32465 w 2454262"/>
              <a:gd name="connsiteY14" fmla="*/ 2507241 h 2507241"/>
              <a:gd name="connsiteX15" fmla="*/ 0 w 2454262"/>
              <a:gd name="connsiteY15" fmla="*/ 2507241 h 250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54262" h="2507241">
                <a:moveTo>
                  <a:pt x="438659" y="0"/>
                </a:moveTo>
                <a:lnTo>
                  <a:pt x="2454262" y="0"/>
                </a:lnTo>
                <a:lnTo>
                  <a:pt x="2015603" y="2507241"/>
                </a:lnTo>
                <a:lnTo>
                  <a:pt x="1967100" y="2507241"/>
                </a:lnTo>
                <a:lnTo>
                  <a:pt x="883318" y="2507241"/>
                </a:lnTo>
                <a:lnTo>
                  <a:pt x="688675" y="2507241"/>
                </a:lnTo>
                <a:lnTo>
                  <a:pt x="588590" y="2507241"/>
                </a:lnTo>
                <a:lnTo>
                  <a:pt x="521835" y="2507241"/>
                </a:lnTo>
                <a:lnTo>
                  <a:pt x="393948" y="2507241"/>
                </a:lnTo>
                <a:lnTo>
                  <a:pt x="333392" y="2507241"/>
                </a:lnTo>
                <a:lnTo>
                  <a:pt x="327191" y="2507241"/>
                </a:lnTo>
                <a:lnTo>
                  <a:pt x="227107" y="2507241"/>
                </a:lnTo>
                <a:lnTo>
                  <a:pt x="194644" y="2507241"/>
                </a:lnTo>
                <a:lnTo>
                  <a:pt x="138749" y="2507241"/>
                </a:lnTo>
                <a:lnTo>
                  <a:pt x="32465" y="2507241"/>
                </a:lnTo>
                <a:lnTo>
                  <a:pt x="0" y="250724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1400" b="0" kern="1200" baseline="0" dirty="0" smtClean="0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72" name="Textplatzhalter 5">
            <a:extLst>
              <a:ext uri="{FF2B5EF4-FFF2-40B4-BE49-F238E27FC236}">
                <a16:creationId xmlns:a16="http://schemas.microsoft.com/office/drawing/2014/main" id="{4F03CAEB-C0C9-454C-AEC6-AC7E80542C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90" y="4725130"/>
            <a:ext cx="2055810" cy="165662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3" name="Textplatzhalter 5">
            <a:extLst>
              <a:ext uri="{FF2B5EF4-FFF2-40B4-BE49-F238E27FC236}">
                <a16:creationId xmlns:a16="http://schemas.microsoft.com/office/drawing/2014/main" id="{AF65AA3E-5E08-4A5B-B8EF-3F657CBB77F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634027" y="4725130"/>
            <a:ext cx="2055810" cy="165662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4" name="Textplatzhalter 5">
            <a:extLst>
              <a:ext uri="{FF2B5EF4-FFF2-40B4-BE49-F238E27FC236}">
                <a16:creationId xmlns:a16="http://schemas.microsoft.com/office/drawing/2014/main" id="{2139FA69-B25E-4035-B4C3-6B72F3643C9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856194" y="4725130"/>
            <a:ext cx="2055810" cy="165662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5" name="Textplatzhalter 5">
            <a:extLst>
              <a:ext uri="{FF2B5EF4-FFF2-40B4-BE49-F238E27FC236}">
                <a16:creationId xmlns:a16="http://schemas.microsoft.com/office/drawing/2014/main" id="{60EB65A9-B225-470C-B804-0CFC5126AE7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078361" y="4725130"/>
            <a:ext cx="2055810" cy="165662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6" name="Textplatzhalter 5">
            <a:extLst>
              <a:ext uri="{FF2B5EF4-FFF2-40B4-BE49-F238E27FC236}">
                <a16:creationId xmlns:a16="http://schemas.microsoft.com/office/drawing/2014/main" id="{004F4442-FA36-42C1-A109-F5098BF5BA1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300528" y="4725130"/>
            <a:ext cx="2055810" cy="165662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50761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+ 2 Overl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martArt-Platzhalter 18">
            <a:extLst>
              <a:ext uri="{FF2B5EF4-FFF2-40B4-BE49-F238E27FC236}">
                <a16:creationId xmlns:a16="http://schemas.microsoft.com/office/drawing/2014/main" id="{26B3F597-1758-4B03-A0D2-CFE97B6E4D5E}"/>
              </a:ext>
            </a:extLst>
          </p:cNvPr>
          <p:cNvSpPr>
            <a:spLocks noGrp="1"/>
          </p:cNvSpPr>
          <p:nvPr>
            <p:ph type="dgm" sz="quarter" idx="26"/>
          </p:nvPr>
        </p:nvSpPr>
        <p:spPr bwMode="gray">
          <a:xfrm flipH="1">
            <a:off x="0" y="1"/>
            <a:ext cx="12192000" cy="3369981"/>
          </a:xfrm>
          <a:custGeom>
            <a:avLst/>
            <a:gdLst>
              <a:gd name="connsiteX0" fmla="*/ 12192000 w 12192000"/>
              <a:gd name="connsiteY0" fmla="*/ 0 h 3369981"/>
              <a:gd name="connsiteX1" fmla="*/ 12188519 w 12192000"/>
              <a:gd name="connsiteY1" fmla="*/ 0 h 3369981"/>
              <a:gd name="connsiteX2" fmla="*/ 11657196 w 12192000"/>
              <a:gd name="connsiteY2" fmla="*/ 0 h 3369981"/>
              <a:gd name="connsiteX3" fmla="*/ 11373306 w 12192000"/>
              <a:gd name="connsiteY3" fmla="*/ 0 h 3369981"/>
              <a:gd name="connsiteX4" fmla="*/ 10532756 w 12192000"/>
              <a:gd name="connsiteY4" fmla="*/ 0 h 3369981"/>
              <a:gd name="connsiteX5" fmla="*/ 10531124 w 12192000"/>
              <a:gd name="connsiteY5" fmla="*/ 0 h 3369981"/>
              <a:gd name="connsiteX6" fmla="*/ 10408989 w 12192000"/>
              <a:gd name="connsiteY6" fmla="*/ 0 h 3369981"/>
              <a:gd name="connsiteX7" fmla="*/ 10377961 w 12192000"/>
              <a:gd name="connsiteY7" fmla="*/ 0 h 3369981"/>
              <a:gd name="connsiteX8" fmla="*/ 10374480 w 12192000"/>
              <a:gd name="connsiteY8" fmla="*/ 0 h 3369981"/>
              <a:gd name="connsiteX9" fmla="*/ 9843157 w 12192000"/>
              <a:gd name="connsiteY9" fmla="*/ 0 h 3369981"/>
              <a:gd name="connsiteX10" fmla="*/ 9832397 w 12192000"/>
              <a:gd name="connsiteY10" fmla="*/ 0 h 3369981"/>
              <a:gd name="connsiteX11" fmla="*/ 9717543 w 12192000"/>
              <a:gd name="connsiteY11" fmla="*/ 0 h 3369981"/>
              <a:gd name="connsiteX12" fmla="*/ 9694053 w 12192000"/>
              <a:gd name="connsiteY12" fmla="*/ 0 h 3369981"/>
              <a:gd name="connsiteX13" fmla="*/ 9568439 w 12192000"/>
              <a:gd name="connsiteY13" fmla="*/ 0 h 3369981"/>
              <a:gd name="connsiteX14" fmla="*/ 9559267 w 12192000"/>
              <a:gd name="connsiteY14" fmla="*/ 0 h 3369981"/>
              <a:gd name="connsiteX15" fmla="*/ 9410163 w 12192000"/>
              <a:gd name="connsiteY15" fmla="*/ 0 h 3369981"/>
              <a:gd name="connsiteX16" fmla="*/ 9017185 w 12192000"/>
              <a:gd name="connsiteY16" fmla="*/ 0 h 3369981"/>
              <a:gd name="connsiteX17" fmla="*/ 8878840 w 12192000"/>
              <a:gd name="connsiteY17" fmla="*/ 0 h 3369981"/>
              <a:gd name="connsiteX18" fmla="*/ 8868081 w 12192000"/>
              <a:gd name="connsiteY18" fmla="*/ 0 h 3369981"/>
              <a:gd name="connsiteX19" fmla="*/ 8753227 w 12192000"/>
              <a:gd name="connsiteY19" fmla="*/ 0 h 3369981"/>
              <a:gd name="connsiteX20" fmla="*/ 8718717 w 12192000"/>
              <a:gd name="connsiteY20" fmla="*/ 0 h 3369981"/>
              <a:gd name="connsiteX21" fmla="*/ 8594950 w 12192000"/>
              <a:gd name="connsiteY21" fmla="*/ 0 h 3369981"/>
              <a:gd name="connsiteX22" fmla="*/ 8176635 w 12192000"/>
              <a:gd name="connsiteY22" fmla="*/ 0 h 3369981"/>
              <a:gd name="connsiteX23" fmla="*/ 8052868 w 12192000"/>
              <a:gd name="connsiteY23" fmla="*/ 0 h 3369981"/>
              <a:gd name="connsiteX24" fmla="*/ 8018358 w 12192000"/>
              <a:gd name="connsiteY24" fmla="*/ 0 h 3369981"/>
              <a:gd name="connsiteX25" fmla="*/ 7903504 w 12192000"/>
              <a:gd name="connsiteY25" fmla="*/ 0 h 3369981"/>
              <a:gd name="connsiteX26" fmla="*/ 7892745 w 12192000"/>
              <a:gd name="connsiteY26" fmla="*/ 0 h 3369981"/>
              <a:gd name="connsiteX27" fmla="*/ 7754400 w 12192000"/>
              <a:gd name="connsiteY27" fmla="*/ 0 h 3369981"/>
              <a:gd name="connsiteX28" fmla="*/ 7612415 w 12192000"/>
              <a:gd name="connsiteY28" fmla="*/ 0 h 3369981"/>
              <a:gd name="connsiteX29" fmla="*/ 7608934 w 12192000"/>
              <a:gd name="connsiteY29" fmla="*/ 0 h 3369981"/>
              <a:gd name="connsiteX30" fmla="*/ 7361422 w 12192000"/>
              <a:gd name="connsiteY30" fmla="*/ 0 h 3369981"/>
              <a:gd name="connsiteX31" fmla="*/ 7212318 w 12192000"/>
              <a:gd name="connsiteY31" fmla="*/ 0 h 3369981"/>
              <a:gd name="connsiteX32" fmla="*/ 7203146 w 12192000"/>
              <a:gd name="connsiteY32" fmla="*/ 0 h 3369981"/>
              <a:gd name="connsiteX33" fmla="*/ 7077611 w 12192000"/>
              <a:gd name="connsiteY33" fmla="*/ 0 h 3369981"/>
              <a:gd name="connsiteX34" fmla="*/ 7077532 w 12192000"/>
              <a:gd name="connsiteY34" fmla="*/ 0 h 3369981"/>
              <a:gd name="connsiteX35" fmla="*/ 7054042 w 12192000"/>
              <a:gd name="connsiteY35" fmla="*/ 0 h 3369981"/>
              <a:gd name="connsiteX36" fmla="*/ 6939188 w 12192000"/>
              <a:gd name="connsiteY36" fmla="*/ 0 h 3369981"/>
              <a:gd name="connsiteX37" fmla="*/ 6928428 w 12192000"/>
              <a:gd name="connsiteY37" fmla="*/ 0 h 3369981"/>
              <a:gd name="connsiteX38" fmla="*/ 6793721 w 12192000"/>
              <a:gd name="connsiteY38" fmla="*/ 0 h 3369981"/>
              <a:gd name="connsiteX39" fmla="*/ 6397105 w 12192000"/>
              <a:gd name="connsiteY39" fmla="*/ 0 h 3369981"/>
              <a:gd name="connsiteX40" fmla="*/ 6393624 w 12192000"/>
              <a:gd name="connsiteY40" fmla="*/ 0 h 3369981"/>
              <a:gd name="connsiteX41" fmla="*/ 6362596 w 12192000"/>
              <a:gd name="connsiteY41" fmla="*/ 0 h 3369981"/>
              <a:gd name="connsiteX42" fmla="*/ 6240461 w 12192000"/>
              <a:gd name="connsiteY42" fmla="*/ 0 h 3369981"/>
              <a:gd name="connsiteX43" fmla="*/ 6238829 w 12192000"/>
              <a:gd name="connsiteY43" fmla="*/ 0 h 3369981"/>
              <a:gd name="connsiteX44" fmla="*/ 5953171 w 12192000"/>
              <a:gd name="connsiteY44" fmla="*/ 0 h 3369981"/>
              <a:gd name="connsiteX45" fmla="*/ 5951539 w 12192000"/>
              <a:gd name="connsiteY45" fmla="*/ 0 h 3369981"/>
              <a:gd name="connsiteX46" fmla="*/ 5829404 w 12192000"/>
              <a:gd name="connsiteY46" fmla="*/ 0 h 3369981"/>
              <a:gd name="connsiteX47" fmla="*/ 5798376 w 12192000"/>
              <a:gd name="connsiteY47" fmla="*/ 0 h 3369981"/>
              <a:gd name="connsiteX48" fmla="*/ 5794895 w 12192000"/>
              <a:gd name="connsiteY48" fmla="*/ 0 h 3369981"/>
              <a:gd name="connsiteX49" fmla="*/ 5398279 w 12192000"/>
              <a:gd name="connsiteY49" fmla="*/ 0 h 3369981"/>
              <a:gd name="connsiteX50" fmla="*/ 5263572 w 12192000"/>
              <a:gd name="connsiteY50" fmla="*/ 0 h 3369981"/>
              <a:gd name="connsiteX51" fmla="*/ 5252812 w 12192000"/>
              <a:gd name="connsiteY51" fmla="*/ 0 h 3369981"/>
              <a:gd name="connsiteX52" fmla="*/ 5137958 w 12192000"/>
              <a:gd name="connsiteY52" fmla="*/ 0 h 3369981"/>
              <a:gd name="connsiteX53" fmla="*/ 5114468 w 12192000"/>
              <a:gd name="connsiteY53" fmla="*/ 0 h 3369981"/>
              <a:gd name="connsiteX54" fmla="*/ 5114389 w 12192000"/>
              <a:gd name="connsiteY54" fmla="*/ 0 h 3369981"/>
              <a:gd name="connsiteX55" fmla="*/ 4988854 w 12192000"/>
              <a:gd name="connsiteY55" fmla="*/ 0 h 3369981"/>
              <a:gd name="connsiteX56" fmla="*/ 4979682 w 12192000"/>
              <a:gd name="connsiteY56" fmla="*/ 0 h 3369981"/>
              <a:gd name="connsiteX57" fmla="*/ 4830578 w 12192000"/>
              <a:gd name="connsiteY57" fmla="*/ 0 h 3369981"/>
              <a:gd name="connsiteX58" fmla="*/ 4583066 w 12192000"/>
              <a:gd name="connsiteY58" fmla="*/ 0 h 3369981"/>
              <a:gd name="connsiteX59" fmla="*/ 4579585 w 12192000"/>
              <a:gd name="connsiteY59" fmla="*/ 0 h 3369981"/>
              <a:gd name="connsiteX60" fmla="*/ 4437600 w 12192000"/>
              <a:gd name="connsiteY60" fmla="*/ 0 h 3369981"/>
              <a:gd name="connsiteX61" fmla="*/ 4299255 w 12192000"/>
              <a:gd name="connsiteY61" fmla="*/ 0 h 3369981"/>
              <a:gd name="connsiteX62" fmla="*/ 4288496 w 12192000"/>
              <a:gd name="connsiteY62" fmla="*/ 0 h 3369981"/>
              <a:gd name="connsiteX63" fmla="*/ 4173642 w 12192000"/>
              <a:gd name="connsiteY63" fmla="*/ 0 h 3369981"/>
              <a:gd name="connsiteX64" fmla="*/ 4139132 w 12192000"/>
              <a:gd name="connsiteY64" fmla="*/ 0 h 3369981"/>
              <a:gd name="connsiteX65" fmla="*/ 4015365 w 12192000"/>
              <a:gd name="connsiteY65" fmla="*/ 0 h 3369981"/>
              <a:gd name="connsiteX66" fmla="*/ 3597050 w 12192000"/>
              <a:gd name="connsiteY66" fmla="*/ 0 h 3369981"/>
              <a:gd name="connsiteX67" fmla="*/ 3473283 w 12192000"/>
              <a:gd name="connsiteY67" fmla="*/ 0 h 3369981"/>
              <a:gd name="connsiteX68" fmla="*/ 3438773 w 12192000"/>
              <a:gd name="connsiteY68" fmla="*/ 0 h 3369981"/>
              <a:gd name="connsiteX69" fmla="*/ 3323919 w 12192000"/>
              <a:gd name="connsiteY69" fmla="*/ 0 h 3369981"/>
              <a:gd name="connsiteX70" fmla="*/ 3313160 w 12192000"/>
              <a:gd name="connsiteY70" fmla="*/ 0 h 3369981"/>
              <a:gd name="connsiteX71" fmla="*/ 3174815 w 12192000"/>
              <a:gd name="connsiteY71" fmla="*/ 0 h 3369981"/>
              <a:gd name="connsiteX72" fmla="*/ 2781837 w 12192000"/>
              <a:gd name="connsiteY72" fmla="*/ 0 h 3369981"/>
              <a:gd name="connsiteX73" fmla="*/ 2632733 w 12192000"/>
              <a:gd name="connsiteY73" fmla="*/ 0 h 3369981"/>
              <a:gd name="connsiteX74" fmla="*/ 2623561 w 12192000"/>
              <a:gd name="connsiteY74" fmla="*/ 0 h 3369981"/>
              <a:gd name="connsiteX75" fmla="*/ 2497947 w 12192000"/>
              <a:gd name="connsiteY75" fmla="*/ 0 h 3369981"/>
              <a:gd name="connsiteX76" fmla="*/ 2474457 w 12192000"/>
              <a:gd name="connsiteY76" fmla="*/ 0 h 3369981"/>
              <a:gd name="connsiteX77" fmla="*/ 2359603 w 12192000"/>
              <a:gd name="connsiteY77" fmla="*/ 0 h 3369981"/>
              <a:gd name="connsiteX78" fmla="*/ 2348843 w 12192000"/>
              <a:gd name="connsiteY78" fmla="*/ 0 h 3369981"/>
              <a:gd name="connsiteX79" fmla="*/ 1817520 w 12192000"/>
              <a:gd name="connsiteY79" fmla="*/ 0 h 3369981"/>
              <a:gd name="connsiteX80" fmla="*/ 1814039 w 12192000"/>
              <a:gd name="connsiteY80" fmla="*/ 0 h 3369981"/>
              <a:gd name="connsiteX81" fmla="*/ 1783011 w 12192000"/>
              <a:gd name="connsiteY81" fmla="*/ 0 h 3369981"/>
              <a:gd name="connsiteX82" fmla="*/ 1660876 w 12192000"/>
              <a:gd name="connsiteY82" fmla="*/ 0 h 3369981"/>
              <a:gd name="connsiteX83" fmla="*/ 1659244 w 12192000"/>
              <a:gd name="connsiteY83" fmla="*/ 0 h 3369981"/>
              <a:gd name="connsiteX84" fmla="*/ 818694 w 12192000"/>
              <a:gd name="connsiteY84" fmla="*/ 0 h 3369981"/>
              <a:gd name="connsiteX85" fmla="*/ 534804 w 12192000"/>
              <a:gd name="connsiteY85" fmla="*/ 0 h 3369981"/>
              <a:gd name="connsiteX86" fmla="*/ 3481 w 12192000"/>
              <a:gd name="connsiteY86" fmla="*/ 0 h 3369981"/>
              <a:gd name="connsiteX87" fmla="*/ 0 w 12192000"/>
              <a:gd name="connsiteY87" fmla="*/ 0 h 3369981"/>
              <a:gd name="connsiteX88" fmla="*/ 0 w 12192000"/>
              <a:gd name="connsiteY88" fmla="*/ 1220202 h 3369981"/>
              <a:gd name="connsiteX89" fmla="*/ 12192000 w 12192000"/>
              <a:gd name="connsiteY89" fmla="*/ 3369981 h 3369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12192000" h="3369981">
                <a:moveTo>
                  <a:pt x="12192000" y="0"/>
                </a:moveTo>
                <a:lnTo>
                  <a:pt x="12188519" y="0"/>
                </a:lnTo>
                <a:lnTo>
                  <a:pt x="11657196" y="0"/>
                </a:lnTo>
                <a:lnTo>
                  <a:pt x="11373306" y="0"/>
                </a:lnTo>
                <a:lnTo>
                  <a:pt x="10532756" y="0"/>
                </a:lnTo>
                <a:lnTo>
                  <a:pt x="10531124" y="0"/>
                </a:lnTo>
                <a:lnTo>
                  <a:pt x="10408989" y="0"/>
                </a:lnTo>
                <a:lnTo>
                  <a:pt x="10377961" y="0"/>
                </a:lnTo>
                <a:lnTo>
                  <a:pt x="10374480" y="0"/>
                </a:lnTo>
                <a:lnTo>
                  <a:pt x="9843157" y="0"/>
                </a:lnTo>
                <a:lnTo>
                  <a:pt x="9832397" y="0"/>
                </a:lnTo>
                <a:lnTo>
                  <a:pt x="9717543" y="0"/>
                </a:lnTo>
                <a:lnTo>
                  <a:pt x="9694053" y="0"/>
                </a:lnTo>
                <a:lnTo>
                  <a:pt x="9568439" y="0"/>
                </a:lnTo>
                <a:lnTo>
                  <a:pt x="9559267" y="0"/>
                </a:lnTo>
                <a:lnTo>
                  <a:pt x="9410163" y="0"/>
                </a:lnTo>
                <a:lnTo>
                  <a:pt x="9017185" y="0"/>
                </a:lnTo>
                <a:lnTo>
                  <a:pt x="8878840" y="0"/>
                </a:lnTo>
                <a:lnTo>
                  <a:pt x="8868081" y="0"/>
                </a:lnTo>
                <a:lnTo>
                  <a:pt x="8753227" y="0"/>
                </a:lnTo>
                <a:lnTo>
                  <a:pt x="8718717" y="0"/>
                </a:lnTo>
                <a:lnTo>
                  <a:pt x="8594950" y="0"/>
                </a:lnTo>
                <a:lnTo>
                  <a:pt x="8176635" y="0"/>
                </a:lnTo>
                <a:lnTo>
                  <a:pt x="8052868" y="0"/>
                </a:lnTo>
                <a:lnTo>
                  <a:pt x="8018358" y="0"/>
                </a:lnTo>
                <a:lnTo>
                  <a:pt x="7903504" y="0"/>
                </a:lnTo>
                <a:lnTo>
                  <a:pt x="7892745" y="0"/>
                </a:lnTo>
                <a:lnTo>
                  <a:pt x="7754400" y="0"/>
                </a:lnTo>
                <a:lnTo>
                  <a:pt x="7612415" y="0"/>
                </a:lnTo>
                <a:lnTo>
                  <a:pt x="7608934" y="0"/>
                </a:lnTo>
                <a:lnTo>
                  <a:pt x="7361422" y="0"/>
                </a:lnTo>
                <a:lnTo>
                  <a:pt x="7212318" y="0"/>
                </a:lnTo>
                <a:lnTo>
                  <a:pt x="7203146" y="0"/>
                </a:lnTo>
                <a:lnTo>
                  <a:pt x="7077611" y="0"/>
                </a:lnTo>
                <a:lnTo>
                  <a:pt x="7077532" y="0"/>
                </a:lnTo>
                <a:lnTo>
                  <a:pt x="7054042" y="0"/>
                </a:lnTo>
                <a:lnTo>
                  <a:pt x="6939188" y="0"/>
                </a:lnTo>
                <a:lnTo>
                  <a:pt x="6928428" y="0"/>
                </a:lnTo>
                <a:lnTo>
                  <a:pt x="6793721" y="0"/>
                </a:lnTo>
                <a:lnTo>
                  <a:pt x="6397105" y="0"/>
                </a:lnTo>
                <a:lnTo>
                  <a:pt x="6393624" y="0"/>
                </a:lnTo>
                <a:lnTo>
                  <a:pt x="6362596" y="0"/>
                </a:lnTo>
                <a:lnTo>
                  <a:pt x="6240461" y="0"/>
                </a:lnTo>
                <a:lnTo>
                  <a:pt x="6238829" y="0"/>
                </a:lnTo>
                <a:lnTo>
                  <a:pt x="5953171" y="0"/>
                </a:lnTo>
                <a:lnTo>
                  <a:pt x="5951539" y="0"/>
                </a:lnTo>
                <a:lnTo>
                  <a:pt x="5829404" y="0"/>
                </a:lnTo>
                <a:lnTo>
                  <a:pt x="5798376" y="0"/>
                </a:lnTo>
                <a:lnTo>
                  <a:pt x="5794895" y="0"/>
                </a:lnTo>
                <a:lnTo>
                  <a:pt x="5398279" y="0"/>
                </a:lnTo>
                <a:lnTo>
                  <a:pt x="5263572" y="0"/>
                </a:lnTo>
                <a:lnTo>
                  <a:pt x="5252812" y="0"/>
                </a:lnTo>
                <a:lnTo>
                  <a:pt x="5137958" y="0"/>
                </a:lnTo>
                <a:lnTo>
                  <a:pt x="5114468" y="0"/>
                </a:lnTo>
                <a:lnTo>
                  <a:pt x="5114389" y="0"/>
                </a:lnTo>
                <a:lnTo>
                  <a:pt x="4988854" y="0"/>
                </a:lnTo>
                <a:lnTo>
                  <a:pt x="4979682" y="0"/>
                </a:lnTo>
                <a:lnTo>
                  <a:pt x="4830578" y="0"/>
                </a:lnTo>
                <a:lnTo>
                  <a:pt x="4583066" y="0"/>
                </a:lnTo>
                <a:lnTo>
                  <a:pt x="4579585" y="0"/>
                </a:lnTo>
                <a:lnTo>
                  <a:pt x="4437600" y="0"/>
                </a:lnTo>
                <a:lnTo>
                  <a:pt x="4299255" y="0"/>
                </a:lnTo>
                <a:lnTo>
                  <a:pt x="4288496" y="0"/>
                </a:lnTo>
                <a:lnTo>
                  <a:pt x="4173642" y="0"/>
                </a:lnTo>
                <a:lnTo>
                  <a:pt x="4139132" y="0"/>
                </a:lnTo>
                <a:lnTo>
                  <a:pt x="4015365" y="0"/>
                </a:lnTo>
                <a:lnTo>
                  <a:pt x="3597050" y="0"/>
                </a:lnTo>
                <a:lnTo>
                  <a:pt x="3473283" y="0"/>
                </a:lnTo>
                <a:lnTo>
                  <a:pt x="3438773" y="0"/>
                </a:lnTo>
                <a:lnTo>
                  <a:pt x="3323919" y="0"/>
                </a:lnTo>
                <a:lnTo>
                  <a:pt x="3313160" y="0"/>
                </a:lnTo>
                <a:lnTo>
                  <a:pt x="3174815" y="0"/>
                </a:lnTo>
                <a:lnTo>
                  <a:pt x="2781837" y="0"/>
                </a:lnTo>
                <a:lnTo>
                  <a:pt x="2632733" y="0"/>
                </a:lnTo>
                <a:lnTo>
                  <a:pt x="2623561" y="0"/>
                </a:lnTo>
                <a:lnTo>
                  <a:pt x="2497947" y="0"/>
                </a:lnTo>
                <a:lnTo>
                  <a:pt x="2474457" y="0"/>
                </a:lnTo>
                <a:lnTo>
                  <a:pt x="2359603" y="0"/>
                </a:lnTo>
                <a:lnTo>
                  <a:pt x="2348843" y="0"/>
                </a:lnTo>
                <a:lnTo>
                  <a:pt x="1817520" y="0"/>
                </a:lnTo>
                <a:lnTo>
                  <a:pt x="1814039" y="0"/>
                </a:lnTo>
                <a:lnTo>
                  <a:pt x="1783011" y="0"/>
                </a:lnTo>
                <a:lnTo>
                  <a:pt x="1660876" y="0"/>
                </a:lnTo>
                <a:lnTo>
                  <a:pt x="1659244" y="0"/>
                </a:lnTo>
                <a:lnTo>
                  <a:pt x="818694" y="0"/>
                </a:lnTo>
                <a:lnTo>
                  <a:pt x="534804" y="0"/>
                </a:lnTo>
                <a:lnTo>
                  <a:pt x="3481" y="0"/>
                </a:lnTo>
                <a:lnTo>
                  <a:pt x="0" y="0"/>
                </a:lnTo>
                <a:lnTo>
                  <a:pt x="0" y="1220202"/>
                </a:lnTo>
                <a:lnTo>
                  <a:pt x="12192000" y="3369981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de-DE" dirty="0"/>
          </a:p>
        </p:txBody>
      </p:sp>
      <p:sp>
        <p:nvSpPr>
          <p:cNvPr id="24" name="SmartArt-Platzhalter 23">
            <a:extLst>
              <a:ext uri="{FF2B5EF4-FFF2-40B4-BE49-F238E27FC236}">
                <a16:creationId xmlns:a16="http://schemas.microsoft.com/office/drawing/2014/main" id="{B6527F2D-F759-4A1F-A496-391B942AC2EC}"/>
              </a:ext>
            </a:extLst>
          </p:cNvPr>
          <p:cNvSpPr>
            <a:spLocks noGrp="1"/>
          </p:cNvSpPr>
          <p:nvPr>
            <p:ph type="dgm" sz="quarter" idx="29"/>
          </p:nvPr>
        </p:nvSpPr>
        <p:spPr bwMode="gray">
          <a:xfrm flipV="1">
            <a:off x="0" y="1217148"/>
            <a:ext cx="12192000" cy="5640852"/>
          </a:xfrm>
          <a:custGeom>
            <a:avLst/>
            <a:gdLst>
              <a:gd name="connsiteX0" fmla="*/ 12192000 w 12192000"/>
              <a:gd name="connsiteY0" fmla="*/ 5640852 h 5640852"/>
              <a:gd name="connsiteX1" fmla="*/ 12192000 w 12192000"/>
              <a:gd name="connsiteY1" fmla="*/ 4604643 h 5640852"/>
              <a:gd name="connsiteX2" fmla="*/ 12192000 w 12192000"/>
              <a:gd name="connsiteY2" fmla="*/ 4406190 h 5640852"/>
              <a:gd name="connsiteX3" fmla="*/ 12192000 w 12192000"/>
              <a:gd name="connsiteY3" fmla="*/ 3369981 h 5640852"/>
              <a:gd name="connsiteX4" fmla="*/ 12192000 w 12192000"/>
              <a:gd name="connsiteY4" fmla="*/ 2270871 h 5640852"/>
              <a:gd name="connsiteX5" fmla="*/ 12192000 w 12192000"/>
              <a:gd name="connsiteY5" fmla="*/ 1234662 h 5640852"/>
              <a:gd name="connsiteX6" fmla="*/ 12192000 w 12192000"/>
              <a:gd name="connsiteY6" fmla="*/ 1036209 h 5640852"/>
              <a:gd name="connsiteX7" fmla="*/ 12192000 w 12192000"/>
              <a:gd name="connsiteY7" fmla="*/ 0 h 5640852"/>
              <a:gd name="connsiteX8" fmla="*/ 12188519 w 12192000"/>
              <a:gd name="connsiteY8" fmla="*/ 0 h 5640852"/>
              <a:gd name="connsiteX9" fmla="*/ 11657196 w 12192000"/>
              <a:gd name="connsiteY9" fmla="*/ 0 h 5640852"/>
              <a:gd name="connsiteX10" fmla="*/ 11373306 w 12192000"/>
              <a:gd name="connsiteY10" fmla="*/ 0 h 5640852"/>
              <a:gd name="connsiteX11" fmla="*/ 10532756 w 12192000"/>
              <a:gd name="connsiteY11" fmla="*/ 0 h 5640852"/>
              <a:gd name="connsiteX12" fmla="*/ 10531124 w 12192000"/>
              <a:gd name="connsiteY12" fmla="*/ 0 h 5640852"/>
              <a:gd name="connsiteX13" fmla="*/ 10408989 w 12192000"/>
              <a:gd name="connsiteY13" fmla="*/ 0 h 5640852"/>
              <a:gd name="connsiteX14" fmla="*/ 10377961 w 12192000"/>
              <a:gd name="connsiteY14" fmla="*/ 0 h 5640852"/>
              <a:gd name="connsiteX15" fmla="*/ 10374480 w 12192000"/>
              <a:gd name="connsiteY15" fmla="*/ 0 h 5640852"/>
              <a:gd name="connsiteX16" fmla="*/ 9843157 w 12192000"/>
              <a:gd name="connsiteY16" fmla="*/ 0 h 5640852"/>
              <a:gd name="connsiteX17" fmla="*/ 9832397 w 12192000"/>
              <a:gd name="connsiteY17" fmla="*/ 0 h 5640852"/>
              <a:gd name="connsiteX18" fmla="*/ 9717543 w 12192000"/>
              <a:gd name="connsiteY18" fmla="*/ 0 h 5640852"/>
              <a:gd name="connsiteX19" fmla="*/ 9694053 w 12192000"/>
              <a:gd name="connsiteY19" fmla="*/ 0 h 5640852"/>
              <a:gd name="connsiteX20" fmla="*/ 9568439 w 12192000"/>
              <a:gd name="connsiteY20" fmla="*/ 0 h 5640852"/>
              <a:gd name="connsiteX21" fmla="*/ 9559267 w 12192000"/>
              <a:gd name="connsiteY21" fmla="*/ 0 h 5640852"/>
              <a:gd name="connsiteX22" fmla="*/ 9410163 w 12192000"/>
              <a:gd name="connsiteY22" fmla="*/ 0 h 5640852"/>
              <a:gd name="connsiteX23" fmla="*/ 9017185 w 12192000"/>
              <a:gd name="connsiteY23" fmla="*/ 0 h 5640852"/>
              <a:gd name="connsiteX24" fmla="*/ 8878840 w 12192000"/>
              <a:gd name="connsiteY24" fmla="*/ 0 h 5640852"/>
              <a:gd name="connsiteX25" fmla="*/ 8868081 w 12192000"/>
              <a:gd name="connsiteY25" fmla="*/ 0 h 5640852"/>
              <a:gd name="connsiteX26" fmla="*/ 8753227 w 12192000"/>
              <a:gd name="connsiteY26" fmla="*/ 0 h 5640852"/>
              <a:gd name="connsiteX27" fmla="*/ 8718717 w 12192000"/>
              <a:gd name="connsiteY27" fmla="*/ 0 h 5640852"/>
              <a:gd name="connsiteX28" fmla="*/ 8594950 w 12192000"/>
              <a:gd name="connsiteY28" fmla="*/ 0 h 5640852"/>
              <a:gd name="connsiteX29" fmla="*/ 8176635 w 12192000"/>
              <a:gd name="connsiteY29" fmla="*/ 0 h 5640852"/>
              <a:gd name="connsiteX30" fmla="*/ 8052868 w 12192000"/>
              <a:gd name="connsiteY30" fmla="*/ 0 h 5640852"/>
              <a:gd name="connsiteX31" fmla="*/ 8018358 w 12192000"/>
              <a:gd name="connsiteY31" fmla="*/ 0 h 5640852"/>
              <a:gd name="connsiteX32" fmla="*/ 7903504 w 12192000"/>
              <a:gd name="connsiteY32" fmla="*/ 0 h 5640852"/>
              <a:gd name="connsiteX33" fmla="*/ 7892745 w 12192000"/>
              <a:gd name="connsiteY33" fmla="*/ 0 h 5640852"/>
              <a:gd name="connsiteX34" fmla="*/ 7754400 w 12192000"/>
              <a:gd name="connsiteY34" fmla="*/ 0 h 5640852"/>
              <a:gd name="connsiteX35" fmla="*/ 7612415 w 12192000"/>
              <a:gd name="connsiteY35" fmla="*/ 0 h 5640852"/>
              <a:gd name="connsiteX36" fmla="*/ 7608934 w 12192000"/>
              <a:gd name="connsiteY36" fmla="*/ 0 h 5640852"/>
              <a:gd name="connsiteX37" fmla="*/ 7361422 w 12192000"/>
              <a:gd name="connsiteY37" fmla="*/ 0 h 5640852"/>
              <a:gd name="connsiteX38" fmla="*/ 7212318 w 12192000"/>
              <a:gd name="connsiteY38" fmla="*/ 0 h 5640852"/>
              <a:gd name="connsiteX39" fmla="*/ 7203146 w 12192000"/>
              <a:gd name="connsiteY39" fmla="*/ 0 h 5640852"/>
              <a:gd name="connsiteX40" fmla="*/ 7077611 w 12192000"/>
              <a:gd name="connsiteY40" fmla="*/ 0 h 5640852"/>
              <a:gd name="connsiteX41" fmla="*/ 7077532 w 12192000"/>
              <a:gd name="connsiteY41" fmla="*/ 0 h 5640852"/>
              <a:gd name="connsiteX42" fmla="*/ 7054042 w 12192000"/>
              <a:gd name="connsiteY42" fmla="*/ 0 h 5640852"/>
              <a:gd name="connsiteX43" fmla="*/ 6939188 w 12192000"/>
              <a:gd name="connsiteY43" fmla="*/ 0 h 5640852"/>
              <a:gd name="connsiteX44" fmla="*/ 6928428 w 12192000"/>
              <a:gd name="connsiteY44" fmla="*/ 0 h 5640852"/>
              <a:gd name="connsiteX45" fmla="*/ 6793721 w 12192000"/>
              <a:gd name="connsiteY45" fmla="*/ 0 h 5640852"/>
              <a:gd name="connsiteX46" fmla="*/ 6397105 w 12192000"/>
              <a:gd name="connsiteY46" fmla="*/ 0 h 5640852"/>
              <a:gd name="connsiteX47" fmla="*/ 6393624 w 12192000"/>
              <a:gd name="connsiteY47" fmla="*/ 0 h 5640852"/>
              <a:gd name="connsiteX48" fmla="*/ 6362596 w 12192000"/>
              <a:gd name="connsiteY48" fmla="*/ 0 h 5640852"/>
              <a:gd name="connsiteX49" fmla="*/ 6240461 w 12192000"/>
              <a:gd name="connsiteY49" fmla="*/ 0 h 5640852"/>
              <a:gd name="connsiteX50" fmla="*/ 6238829 w 12192000"/>
              <a:gd name="connsiteY50" fmla="*/ 0 h 5640852"/>
              <a:gd name="connsiteX51" fmla="*/ 5953171 w 12192000"/>
              <a:gd name="connsiteY51" fmla="*/ 0 h 5640852"/>
              <a:gd name="connsiteX52" fmla="*/ 5951539 w 12192000"/>
              <a:gd name="connsiteY52" fmla="*/ 0 h 5640852"/>
              <a:gd name="connsiteX53" fmla="*/ 5829404 w 12192000"/>
              <a:gd name="connsiteY53" fmla="*/ 0 h 5640852"/>
              <a:gd name="connsiteX54" fmla="*/ 5798377 w 12192000"/>
              <a:gd name="connsiteY54" fmla="*/ 0 h 5640852"/>
              <a:gd name="connsiteX55" fmla="*/ 5794895 w 12192000"/>
              <a:gd name="connsiteY55" fmla="*/ 0 h 5640852"/>
              <a:gd name="connsiteX56" fmla="*/ 5398279 w 12192000"/>
              <a:gd name="connsiteY56" fmla="*/ 0 h 5640852"/>
              <a:gd name="connsiteX57" fmla="*/ 5263572 w 12192000"/>
              <a:gd name="connsiteY57" fmla="*/ 0 h 5640852"/>
              <a:gd name="connsiteX58" fmla="*/ 5252812 w 12192000"/>
              <a:gd name="connsiteY58" fmla="*/ 0 h 5640852"/>
              <a:gd name="connsiteX59" fmla="*/ 5137958 w 12192000"/>
              <a:gd name="connsiteY59" fmla="*/ 0 h 5640852"/>
              <a:gd name="connsiteX60" fmla="*/ 5114468 w 12192000"/>
              <a:gd name="connsiteY60" fmla="*/ 0 h 5640852"/>
              <a:gd name="connsiteX61" fmla="*/ 5114389 w 12192000"/>
              <a:gd name="connsiteY61" fmla="*/ 0 h 5640852"/>
              <a:gd name="connsiteX62" fmla="*/ 4988854 w 12192000"/>
              <a:gd name="connsiteY62" fmla="*/ 0 h 5640852"/>
              <a:gd name="connsiteX63" fmla="*/ 4979682 w 12192000"/>
              <a:gd name="connsiteY63" fmla="*/ 0 h 5640852"/>
              <a:gd name="connsiteX64" fmla="*/ 4830578 w 12192000"/>
              <a:gd name="connsiteY64" fmla="*/ 0 h 5640852"/>
              <a:gd name="connsiteX65" fmla="*/ 4583066 w 12192000"/>
              <a:gd name="connsiteY65" fmla="*/ 0 h 5640852"/>
              <a:gd name="connsiteX66" fmla="*/ 4579585 w 12192000"/>
              <a:gd name="connsiteY66" fmla="*/ 0 h 5640852"/>
              <a:gd name="connsiteX67" fmla="*/ 4437600 w 12192000"/>
              <a:gd name="connsiteY67" fmla="*/ 0 h 5640852"/>
              <a:gd name="connsiteX68" fmla="*/ 4299255 w 12192000"/>
              <a:gd name="connsiteY68" fmla="*/ 0 h 5640852"/>
              <a:gd name="connsiteX69" fmla="*/ 4288496 w 12192000"/>
              <a:gd name="connsiteY69" fmla="*/ 0 h 5640852"/>
              <a:gd name="connsiteX70" fmla="*/ 4173642 w 12192000"/>
              <a:gd name="connsiteY70" fmla="*/ 0 h 5640852"/>
              <a:gd name="connsiteX71" fmla="*/ 4139132 w 12192000"/>
              <a:gd name="connsiteY71" fmla="*/ 0 h 5640852"/>
              <a:gd name="connsiteX72" fmla="*/ 4015365 w 12192000"/>
              <a:gd name="connsiteY72" fmla="*/ 0 h 5640852"/>
              <a:gd name="connsiteX73" fmla="*/ 3597050 w 12192000"/>
              <a:gd name="connsiteY73" fmla="*/ 0 h 5640852"/>
              <a:gd name="connsiteX74" fmla="*/ 3473283 w 12192000"/>
              <a:gd name="connsiteY74" fmla="*/ 0 h 5640852"/>
              <a:gd name="connsiteX75" fmla="*/ 3438773 w 12192000"/>
              <a:gd name="connsiteY75" fmla="*/ 0 h 5640852"/>
              <a:gd name="connsiteX76" fmla="*/ 3323919 w 12192000"/>
              <a:gd name="connsiteY76" fmla="*/ 0 h 5640852"/>
              <a:gd name="connsiteX77" fmla="*/ 3313160 w 12192000"/>
              <a:gd name="connsiteY77" fmla="*/ 0 h 5640852"/>
              <a:gd name="connsiteX78" fmla="*/ 3174815 w 12192000"/>
              <a:gd name="connsiteY78" fmla="*/ 0 h 5640852"/>
              <a:gd name="connsiteX79" fmla="*/ 2781837 w 12192000"/>
              <a:gd name="connsiteY79" fmla="*/ 0 h 5640852"/>
              <a:gd name="connsiteX80" fmla="*/ 2632733 w 12192000"/>
              <a:gd name="connsiteY80" fmla="*/ 0 h 5640852"/>
              <a:gd name="connsiteX81" fmla="*/ 2623561 w 12192000"/>
              <a:gd name="connsiteY81" fmla="*/ 0 h 5640852"/>
              <a:gd name="connsiteX82" fmla="*/ 2497947 w 12192000"/>
              <a:gd name="connsiteY82" fmla="*/ 0 h 5640852"/>
              <a:gd name="connsiteX83" fmla="*/ 2474457 w 12192000"/>
              <a:gd name="connsiteY83" fmla="*/ 0 h 5640852"/>
              <a:gd name="connsiteX84" fmla="*/ 2359603 w 12192000"/>
              <a:gd name="connsiteY84" fmla="*/ 0 h 5640852"/>
              <a:gd name="connsiteX85" fmla="*/ 2348843 w 12192000"/>
              <a:gd name="connsiteY85" fmla="*/ 0 h 5640852"/>
              <a:gd name="connsiteX86" fmla="*/ 1817520 w 12192000"/>
              <a:gd name="connsiteY86" fmla="*/ 0 h 5640852"/>
              <a:gd name="connsiteX87" fmla="*/ 1814039 w 12192000"/>
              <a:gd name="connsiteY87" fmla="*/ 0 h 5640852"/>
              <a:gd name="connsiteX88" fmla="*/ 1783011 w 12192000"/>
              <a:gd name="connsiteY88" fmla="*/ 0 h 5640852"/>
              <a:gd name="connsiteX89" fmla="*/ 1660876 w 12192000"/>
              <a:gd name="connsiteY89" fmla="*/ 0 h 5640852"/>
              <a:gd name="connsiteX90" fmla="*/ 1659244 w 12192000"/>
              <a:gd name="connsiteY90" fmla="*/ 0 h 5640852"/>
              <a:gd name="connsiteX91" fmla="*/ 818694 w 12192000"/>
              <a:gd name="connsiteY91" fmla="*/ 0 h 5640852"/>
              <a:gd name="connsiteX92" fmla="*/ 534804 w 12192000"/>
              <a:gd name="connsiteY92" fmla="*/ 0 h 5640852"/>
              <a:gd name="connsiteX93" fmla="*/ 3481 w 12192000"/>
              <a:gd name="connsiteY93" fmla="*/ 0 h 5640852"/>
              <a:gd name="connsiteX94" fmla="*/ 0 w 12192000"/>
              <a:gd name="connsiteY94" fmla="*/ 0 h 5640852"/>
              <a:gd name="connsiteX95" fmla="*/ 0 w 12192000"/>
              <a:gd name="connsiteY95" fmla="*/ 1036209 h 5640852"/>
              <a:gd name="connsiteX96" fmla="*/ 0 w 12192000"/>
              <a:gd name="connsiteY96" fmla="*/ 1220202 h 5640852"/>
              <a:gd name="connsiteX97" fmla="*/ 0 w 12192000"/>
              <a:gd name="connsiteY97" fmla="*/ 1234662 h 5640852"/>
              <a:gd name="connsiteX98" fmla="*/ 0 w 12192000"/>
              <a:gd name="connsiteY98" fmla="*/ 2256411 h 5640852"/>
              <a:gd name="connsiteX99" fmla="*/ 0 w 12192000"/>
              <a:gd name="connsiteY99" fmla="*/ 2270871 h 5640852"/>
              <a:gd name="connsiteX100" fmla="*/ 0 w 12192000"/>
              <a:gd name="connsiteY100" fmla="*/ 2454864 h 5640852"/>
              <a:gd name="connsiteX101" fmla="*/ 0 w 12192000"/>
              <a:gd name="connsiteY101" fmla="*/ 3491073 h 5640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12192000" h="5640852">
                <a:moveTo>
                  <a:pt x="12192000" y="5640852"/>
                </a:moveTo>
                <a:lnTo>
                  <a:pt x="12192000" y="4604643"/>
                </a:lnTo>
                <a:lnTo>
                  <a:pt x="12192000" y="4406190"/>
                </a:lnTo>
                <a:lnTo>
                  <a:pt x="12192000" y="3369981"/>
                </a:lnTo>
                <a:lnTo>
                  <a:pt x="12192000" y="2270871"/>
                </a:lnTo>
                <a:lnTo>
                  <a:pt x="12192000" y="1234662"/>
                </a:lnTo>
                <a:lnTo>
                  <a:pt x="12192000" y="1036209"/>
                </a:lnTo>
                <a:lnTo>
                  <a:pt x="12192000" y="0"/>
                </a:lnTo>
                <a:lnTo>
                  <a:pt x="12188519" y="0"/>
                </a:lnTo>
                <a:lnTo>
                  <a:pt x="11657196" y="0"/>
                </a:lnTo>
                <a:lnTo>
                  <a:pt x="11373306" y="0"/>
                </a:lnTo>
                <a:lnTo>
                  <a:pt x="10532756" y="0"/>
                </a:lnTo>
                <a:lnTo>
                  <a:pt x="10531124" y="0"/>
                </a:lnTo>
                <a:lnTo>
                  <a:pt x="10408989" y="0"/>
                </a:lnTo>
                <a:lnTo>
                  <a:pt x="10377961" y="0"/>
                </a:lnTo>
                <a:lnTo>
                  <a:pt x="10374480" y="0"/>
                </a:lnTo>
                <a:lnTo>
                  <a:pt x="9843157" y="0"/>
                </a:lnTo>
                <a:lnTo>
                  <a:pt x="9832397" y="0"/>
                </a:lnTo>
                <a:lnTo>
                  <a:pt x="9717543" y="0"/>
                </a:lnTo>
                <a:lnTo>
                  <a:pt x="9694053" y="0"/>
                </a:lnTo>
                <a:lnTo>
                  <a:pt x="9568439" y="0"/>
                </a:lnTo>
                <a:lnTo>
                  <a:pt x="9559267" y="0"/>
                </a:lnTo>
                <a:lnTo>
                  <a:pt x="9410163" y="0"/>
                </a:lnTo>
                <a:lnTo>
                  <a:pt x="9017185" y="0"/>
                </a:lnTo>
                <a:lnTo>
                  <a:pt x="8878840" y="0"/>
                </a:lnTo>
                <a:lnTo>
                  <a:pt x="8868081" y="0"/>
                </a:lnTo>
                <a:lnTo>
                  <a:pt x="8753227" y="0"/>
                </a:lnTo>
                <a:lnTo>
                  <a:pt x="8718717" y="0"/>
                </a:lnTo>
                <a:lnTo>
                  <a:pt x="8594950" y="0"/>
                </a:lnTo>
                <a:lnTo>
                  <a:pt x="8176635" y="0"/>
                </a:lnTo>
                <a:lnTo>
                  <a:pt x="8052868" y="0"/>
                </a:lnTo>
                <a:lnTo>
                  <a:pt x="8018358" y="0"/>
                </a:lnTo>
                <a:lnTo>
                  <a:pt x="7903504" y="0"/>
                </a:lnTo>
                <a:lnTo>
                  <a:pt x="7892745" y="0"/>
                </a:lnTo>
                <a:lnTo>
                  <a:pt x="7754400" y="0"/>
                </a:lnTo>
                <a:lnTo>
                  <a:pt x="7612415" y="0"/>
                </a:lnTo>
                <a:lnTo>
                  <a:pt x="7608934" y="0"/>
                </a:lnTo>
                <a:lnTo>
                  <a:pt x="7361422" y="0"/>
                </a:lnTo>
                <a:lnTo>
                  <a:pt x="7212318" y="0"/>
                </a:lnTo>
                <a:lnTo>
                  <a:pt x="7203146" y="0"/>
                </a:lnTo>
                <a:lnTo>
                  <a:pt x="7077611" y="0"/>
                </a:lnTo>
                <a:lnTo>
                  <a:pt x="7077532" y="0"/>
                </a:lnTo>
                <a:lnTo>
                  <a:pt x="7054042" y="0"/>
                </a:lnTo>
                <a:lnTo>
                  <a:pt x="6939188" y="0"/>
                </a:lnTo>
                <a:lnTo>
                  <a:pt x="6928428" y="0"/>
                </a:lnTo>
                <a:lnTo>
                  <a:pt x="6793721" y="0"/>
                </a:lnTo>
                <a:lnTo>
                  <a:pt x="6397105" y="0"/>
                </a:lnTo>
                <a:lnTo>
                  <a:pt x="6393624" y="0"/>
                </a:lnTo>
                <a:lnTo>
                  <a:pt x="6362596" y="0"/>
                </a:lnTo>
                <a:lnTo>
                  <a:pt x="6240461" y="0"/>
                </a:lnTo>
                <a:lnTo>
                  <a:pt x="6238829" y="0"/>
                </a:lnTo>
                <a:lnTo>
                  <a:pt x="5953171" y="0"/>
                </a:lnTo>
                <a:lnTo>
                  <a:pt x="5951539" y="0"/>
                </a:lnTo>
                <a:lnTo>
                  <a:pt x="5829404" y="0"/>
                </a:lnTo>
                <a:lnTo>
                  <a:pt x="5798377" y="0"/>
                </a:lnTo>
                <a:lnTo>
                  <a:pt x="5794895" y="0"/>
                </a:lnTo>
                <a:lnTo>
                  <a:pt x="5398279" y="0"/>
                </a:lnTo>
                <a:lnTo>
                  <a:pt x="5263572" y="0"/>
                </a:lnTo>
                <a:lnTo>
                  <a:pt x="5252812" y="0"/>
                </a:lnTo>
                <a:lnTo>
                  <a:pt x="5137958" y="0"/>
                </a:lnTo>
                <a:lnTo>
                  <a:pt x="5114468" y="0"/>
                </a:lnTo>
                <a:lnTo>
                  <a:pt x="5114389" y="0"/>
                </a:lnTo>
                <a:lnTo>
                  <a:pt x="4988854" y="0"/>
                </a:lnTo>
                <a:lnTo>
                  <a:pt x="4979682" y="0"/>
                </a:lnTo>
                <a:lnTo>
                  <a:pt x="4830578" y="0"/>
                </a:lnTo>
                <a:lnTo>
                  <a:pt x="4583066" y="0"/>
                </a:lnTo>
                <a:lnTo>
                  <a:pt x="4579585" y="0"/>
                </a:lnTo>
                <a:lnTo>
                  <a:pt x="4437600" y="0"/>
                </a:lnTo>
                <a:lnTo>
                  <a:pt x="4299255" y="0"/>
                </a:lnTo>
                <a:lnTo>
                  <a:pt x="4288496" y="0"/>
                </a:lnTo>
                <a:lnTo>
                  <a:pt x="4173642" y="0"/>
                </a:lnTo>
                <a:lnTo>
                  <a:pt x="4139132" y="0"/>
                </a:lnTo>
                <a:lnTo>
                  <a:pt x="4015365" y="0"/>
                </a:lnTo>
                <a:lnTo>
                  <a:pt x="3597050" y="0"/>
                </a:lnTo>
                <a:lnTo>
                  <a:pt x="3473283" y="0"/>
                </a:lnTo>
                <a:lnTo>
                  <a:pt x="3438773" y="0"/>
                </a:lnTo>
                <a:lnTo>
                  <a:pt x="3323919" y="0"/>
                </a:lnTo>
                <a:lnTo>
                  <a:pt x="3313160" y="0"/>
                </a:lnTo>
                <a:lnTo>
                  <a:pt x="3174815" y="0"/>
                </a:lnTo>
                <a:lnTo>
                  <a:pt x="2781837" y="0"/>
                </a:lnTo>
                <a:lnTo>
                  <a:pt x="2632733" y="0"/>
                </a:lnTo>
                <a:lnTo>
                  <a:pt x="2623561" y="0"/>
                </a:lnTo>
                <a:lnTo>
                  <a:pt x="2497947" y="0"/>
                </a:lnTo>
                <a:lnTo>
                  <a:pt x="2474457" y="0"/>
                </a:lnTo>
                <a:lnTo>
                  <a:pt x="2359603" y="0"/>
                </a:lnTo>
                <a:lnTo>
                  <a:pt x="2348843" y="0"/>
                </a:lnTo>
                <a:lnTo>
                  <a:pt x="1817520" y="0"/>
                </a:lnTo>
                <a:lnTo>
                  <a:pt x="1814039" y="0"/>
                </a:lnTo>
                <a:lnTo>
                  <a:pt x="1783011" y="0"/>
                </a:lnTo>
                <a:lnTo>
                  <a:pt x="1660876" y="0"/>
                </a:lnTo>
                <a:lnTo>
                  <a:pt x="1659244" y="0"/>
                </a:lnTo>
                <a:lnTo>
                  <a:pt x="818694" y="0"/>
                </a:lnTo>
                <a:lnTo>
                  <a:pt x="534804" y="0"/>
                </a:lnTo>
                <a:lnTo>
                  <a:pt x="3481" y="0"/>
                </a:lnTo>
                <a:lnTo>
                  <a:pt x="0" y="0"/>
                </a:lnTo>
                <a:lnTo>
                  <a:pt x="0" y="1036209"/>
                </a:lnTo>
                <a:lnTo>
                  <a:pt x="0" y="1220202"/>
                </a:lnTo>
                <a:lnTo>
                  <a:pt x="0" y="1234662"/>
                </a:lnTo>
                <a:lnTo>
                  <a:pt x="0" y="2256411"/>
                </a:lnTo>
                <a:lnTo>
                  <a:pt x="0" y="2270871"/>
                </a:lnTo>
                <a:lnTo>
                  <a:pt x="0" y="2454864"/>
                </a:lnTo>
                <a:lnTo>
                  <a:pt x="0" y="3491073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de-DE" dirty="0"/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8FE2F768-31B7-4114-8D4D-032E4ED46F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21951E-D998-406D-8DA3-CD1E5D0FB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55C038-ADBC-4355-B701-93788356F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EEAC42-F94F-4D9A-8CB5-ED46D3DC3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7" name="SmartArt-Platzhalter 296">
            <a:extLst>
              <a:ext uri="{FF2B5EF4-FFF2-40B4-BE49-F238E27FC236}">
                <a16:creationId xmlns:a16="http://schemas.microsoft.com/office/drawing/2014/main" id="{5A909AA4-7409-4340-B373-87656CD8C6E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0566051" y="488304"/>
            <a:ext cx="1213200" cy="485482"/>
          </a:xfrm>
          <a:custGeom>
            <a:avLst/>
            <a:gdLst>
              <a:gd name="connsiteX0" fmla="*/ 1022440 w 1213200"/>
              <a:gd name="connsiteY0" fmla="*/ 413820 h 485482"/>
              <a:gd name="connsiteX1" fmla="*/ 1006795 w 1213200"/>
              <a:gd name="connsiteY1" fmla="*/ 455707 h 485482"/>
              <a:gd name="connsiteX2" fmla="*/ 1038084 w 1213200"/>
              <a:gd name="connsiteY2" fmla="*/ 455707 h 485482"/>
              <a:gd name="connsiteX3" fmla="*/ 35830 w 1213200"/>
              <a:gd name="connsiteY3" fmla="*/ 413820 h 485482"/>
              <a:gd name="connsiteX4" fmla="*/ 20186 w 1213200"/>
              <a:gd name="connsiteY4" fmla="*/ 455707 h 485482"/>
              <a:gd name="connsiteX5" fmla="*/ 51475 w 1213200"/>
              <a:gd name="connsiteY5" fmla="*/ 455707 h 485482"/>
              <a:gd name="connsiteX6" fmla="*/ 942703 w 1213200"/>
              <a:gd name="connsiteY6" fmla="*/ 412306 h 485482"/>
              <a:gd name="connsiteX7" fmla="*/ 942703 w 1213200"/>
              <a:gd name="connsiteY7" fmla="*/ 446118 h 485482"/>
              <a:gd name="connsiteX8" fmla="*/ 962906 w 1213200"/>
              <a:gd name="connsiteY8" fmla="*/ 446118 h 485482"/>
              <a:gd name="connsiteX9" fmla="*/ 979543 w 1213200"/>
              <a:gd name="connsiteY9" fmla="*/ 429212 h 485482"/>
              <a:gd name="connsiteX10" fmla="*/ 962906 w 1213200"/>
              <a:gd name="connsiteY10" fmla="*/ 412306 h 485482"/>
              <a:gd name="connsiteX11" fmla="*/ 942703 w 1213200"/>
              <a:gd name="connsiteY11" fmla="*/ 412306 h 485482"/>
              <a:gd name="connsiteX12" fmla="*/ 281095 w 1213200"/>
              <a:gd name="connsiteY12" fmla="*/ 412306 h 485482"/>
              <a:gd name="connsiteX13" fmla="*/ 281095 w 1213200"/>
              <a:gd name="connsiteY13" fmla="*/ 446118 h 485482"/>
              <a:gd name="connsiteX14" fmla="*/ 302669 w 1213200"/>
              <a:gd name="connsiteY14" fmla="*/ 446118 h 485482"/>
              <a:gd name="connsiteX15" fmla="*/ 319449 w 1213200"/>
              <a:gd name="connsiteY15" fmla="*/ 429212 h 485482"/>
              <a:gd name="connsiteX16" fmla="*/ 302669 w 1213200"/>
              <a:gd name="connsiteY16" fmla="*/ 412306 h 485482"/>
              <a:gd name="connsiteX17" fmla="*/ 281095 w 1213200"/>
              <a:gd name="connsiteY17" fmla="*/ 412306 h 485482"/>
              <a:gd name="connsiteX18" fmla="*/ 132221 w 1213200"/>
              <a:gd name="connsiteY18" fmla="*/ 412306 h 485482"/>
              <a:gd name="connsiteX19" fmla="*/ 132221 w 1213200"/>
              <a:gd name="connsiteY19" fmla="*/ 446118 h 485482"/>
              <a:gd name="connsiteX20" fmla="*/ 152525 w 1213200"/>
              <a:gd name="connsiteY20" fmla="*/ 446118 h 485482"/>
              <a:gd name="connsiteX21" fmla="*/ 168052 w 1213200"/>
              <a:gd name="connsiteY21" fmla="*/ 429212 h 485482"/>
              <a:gd name="connsiteX22" fmla="*/ 152525 w 1213200"/>
              <a:gd name="connsiteY22" fmla="*/ 412306 h 485482"/>
              <a:gd name="connsiteX23" fmla="*/ 132221 w 1213200"/>
              <a:gd name="connsiteY23" fmla="*/ 412306 h 485482"/>
              <a:gd name="connsiteX24" fmla="*/ 793576 w 1213200"/>
              <a:gd name="connsiteY24" fmla="*/ 411297 h 485482"/>
              <a:gd name="connsiteX25" fmla="*/ 772128 w 1213200"/>
              <a:gd name="connsiteY25" fmla="*/ 431575 h 485482"/>
              <a:gd name="connsiteX26" fmla="*/ 772128 w 1213200"/>
              <a:gd name="connsiteY26" fmla="*/ 456625 h 485482"/>
              <a:gd name="connsiteX27" fmla="*/ 793576 w 1213200"/>
              <a:gd name="connsiteY27" fmla="*/ 476903 h 485482"/>
              <a:gd name="connsiteX28" fmla="*/ 815024 w 1213200"/>
              <a:gd name="connsiteY28" fmla="*/ 456625 h 485482"/>
              <a:gd name="connsiteX29" fmla="*/ 815024 w 1213200"/>
              <a:gd name="connsiteY29" fmla="*/ 431575 h 485482"/>
              <a:gd name="connsiteX30" fmla="*/ 793576 w 1213200"/>
              <a:gd name="connsiteY30" fmla="*/ 411297 h 485482"/>
              <a:gd name="connsiteX31" fmla="*/ 221798 w 1213200"/>
              <a:gd name="connsiteY31" fmla="*/ 411297 h 485482"/>
              <a:gd name="connsiteX32" fmla="*/ 200350 w 1213200"/>
              <a:gd name="connsiteY32" fmla="*/ 431575 h 485482"/>
              <a:gd name="connsiteX33" fmla="*/ 200350 w 1213200"/>
              <a:gd name="connsiteY33" fmla="*/ 456625 h 485482"/>
              <a:gd name="connsiteX34" fmla="*/ 221798 w 1213200"/>
              <a:gd name="connsiteY34" fmla="*/ 476903 h 485482"/>
              <a:gd name="connsiteX35" fmla="*/ 243246 w 1213200"/>
              <a:gd name="connsiteY35" fmla="*/ 456625 h 485482"/>
              <a:gd name="connsiteX36" fmla="*/ 243246 w 1213200"/>
              <a:gd name="connsiteY36" fmla="*/ 431575 h 485482"/>
              <a:gd name="connsiteX37" fmla="*/ 221798 w 1213200"/>
              <a:gd name="connsiteY37" fmla="*/ 411297 h 485482"/>
              <a:gd name="connsiteX38" fmla="*/ 1144062 w 1213200"/>
              <a:gd name="connsiteY38" fmla="*/ 404232 h 485482"/>
              <a:gd name="connsiteX39" fmla="*/ 1154660 w 1213200"/>
              <a:gd name="connsiteY39" fmla="*/ 404232 h 485482"/>
              <a:gd name="connsiteX40" fmla="*/ 1178379 w 1213200"/>
              <a:gd name="connsiteY40" fmla="*/ 443596 h 485482"/>
              <a:gd name="connsiteX41" fmla="*/ 1201088 w 1213200"/>
              <a:gd name="connsiteY41" fmla="*/ 404232 h 485482"/>
              <a:gd name="connsiteX42" fmla="*/ 1213200 w 1213200"/>
              <a:gd name="connsiteY42" fmla="*/ 404232 h 485482"/>
              <a:gd name="connsiteX43" fmla="*/ 1183425 w 1213200"/>
              <a:gd name="connsiteY43" fmla="*/ 453184 h 485482"/>
              <a:gd name="connsiteX44" fmla="*/ 1183425 w 1213200"/>
              <a:gd name="connsiteY44" fmla="*/ 484473 h 485482"/>
              <a:gd name="connsiteX45" fmla="*/ 1173837 w 1213200"/>
              <a:gd name="connsiteY45" fmla="*/ 484473 h 485482"/>
              <a:gd name="connsiteX46" fmla="*/ 1173837 w 1213200"/>
              <a:gd name="connsiteY46" fmla="*/ 453184 h 485482"/>
              <a:gd name="connsiteX47" fmla="*/ 1071391 w 1213200"/>
              <a:gd name="connsiteY47" fmla="*/ 404232 h 485482"/>
              <a:gd name="connsiteX48" fmla="*/ 1079466 w 1213200"/>
              <a:gd name="connsiteY48" fmla="*/ 404232 h 485482"/>
              <a:gd name="connsiteX49" fmla="*/ 1121352 w 1213200"/>
              <a:gd name="connsiteY49" fmla="*/ 467315 h 485482"/>
              <a:gd name="connsiteX50" fmla="*/ 1121352 w 1213200"/>
              <a:gd name="connsiteY50" fmla="*/ 404232 h 485482"/>
              <a:gd name="connsiteX51" fmla="*/ 1130941 w 1213200"/>
              <a:gd name="connsiteY51" fmla="*/ 404232 h 485482"/>
              <a:gd name="connsiteX52" fmla="*/ 1130941 w 1213200"/>
              <a:gd name="connsiteY52" fmla="*/ 484473 h 485482"/>
              <a:gd name="connsiteX53" fmla="*/ 1122362 w 1213200"/>
              <a:gd name="connsiteY53" fmla="*/ 484473 h 485482"/>
              <a:gd name="connsiteX54" fmla="*/ 1080980 w 1213200"/>
              <a:gd name="connsiteY54" fmla="*/ 420886 h 485482"/>
              <a:gd name="connsiteX55" fmla="*/ 1080980 w 1213200"/>
              <a:gd name="connsiteY55" fmla="*/ 484473 h 485482"/>
              <a:gd name="connsiteX56" fmla="*/ 1071391 w 1213200"/>
              <a:gd name="connsiteY56" fmla="*/ 484473 h 485482"/>
              <a:gd name="connsiteX57" fmla="*/ 1017392 w 1213200"/>
              <a:gd name="connsiteY57" fmla="*/ 404232 h 485482"/>
              <a:gd name="connsiteX58" fmla="*/ 1029504 w 1213200"/>
              <a:gd name="connsiteY58" fmla="*/ 404232 h 485482"/>
              <a:gd name="connsiteX59" fmla="*/ 1058269 w 1213200"/>
              <a:gd name="connsiteY59" fmla="*/ 484473 h 485482"/>
              <a:gd name="connsiteX60" fmla="*/ 1048681 w 1213200"/>
              <a:gd name="connsiteY60" fmla="*/ 484473 h 485482"/>
              <a:gd name="connsiteX61" fmla="*/ 1040101 w 1213200"/>
              <a:gd name="connsiteY61" fmla="*/ 463782 h 485482"/>
              <a:gd name="connsiteX62" fmla="*/ 1004271 w 1213200"/>
              <a:gd name="connsiteY62" fmla="*/ 463782 h 485482"/>
              <a:gd name="connsiteX63" fmla="*/ 997205 w 1213200"/>
              <a:gd name="connsiteY63" fmla="*/ 484473 h 485482"/>
              <a:gd name="connsiteX64" fmla="*/ 987617 w 1213200"/>
              <a:gd name="connsiteY64" fmla="*/ 484473 h 485482"/>
              <a:gd name="connsiteX65" fmla="*/ 933114 w 1213200"/>
              <a:gd name="connsiteY65" fmla="*/ 404232 h 485482"/>
              <a:gd name="connsiteX66" fmla="*/ 962910 w 1213200"/>
              <a:gd name="connsiteY66" fmla="*/ 404232 h 485482"/>
              <a:gd name="connsiteX67" fmla="*/ 989131 w 1213200"/>
              <a:gd name="connsiteY67" fmla="*/ 429382 h 485482"/>
              <a:gd name="connsiteX68" fmla="*/ 962910 w 1213200"/>
              <a:gd name="connsiteY68" fmla="*/ 454532 h 485482"/>
              <a:gd name="connsiteX69" fmla="*/ 942649 w 1213200"/>
              <a:gd name="connsiteY69" fmla="*/ 454532 h 485482"/>
              <a:gd name="connsiteX70" fmla="*/ 942649 w 1213200"/>
              <a:gd name="connsiteY70" fmla="*/ 484473 h 485482"/>
              <a:gd name="connsiteX71" fmla="*/ 933114 w 1213200"/>
              <a:gd name="connsiteY71" fmla="*/ 484473 h 485482"/>
              <a:gd name="connsiteX72" fmla="*/ 843790 w 1213200"/>
              <a:gd name="connsiteY72" fmla="*/ 404232 h 485482"/>
              <a:gd name="connsiteX73" fmla="*/ 853378 w 1213200"/>
              <a:gd name="connsiteY73" fmla="*/ 404232 h 485482"/>
              <a:gd name="connsiteX74" fmla="*/ 878107 w 1213200"/>
              <a:gd name="connsiteY74" fmla="*/ 452175 h 485482"/>
              <a:gd name="connsiteX75" fmla="*/ 903340 w 1213200"/>
              <a:gd name="connsiteY75" fmla="*/ 404232 h 485482"/>
              <a:gd name="connsiteX76" fmla="*/ 912928 w 1213200"/>
              <a:gd name="connsiteY76" fmla="*/ 404232 h 485482"/>
              <a:gd name="connsiteX77" fmla="*/ 912928 w 1213200"/>
              <a:gd name="connsiteY77" fmla="*/ 484473 h 485482"/>
              <a:gd name="connsiteX78" fmla="*/ 903340 w 1213200"/>
              <a:gd name="connsiteY78" fmla="*/ 484473 h 485482"/>
              <a:gd name="connsiteX79" fmla="*/ 903340 w 1213200"/>
              <a:gd name="connsiteY79" fmla="*/ 423409 h 485482"/>
              <a:gd name="connsiteX80" fmla="*/ 878107 w 1213200"/>
              <a:gd name="connsiteY80" fmla="*/ 469838 h 485482"/>
              <a:gd name="connsiteX81" fmla="*/ 853378 w 1213200"/>
              <a:gd name="connsiteY81" fmla="*/ 423409 h 485482"/>
              <a:gd name="connsiteX82" fmla="*/ 853378 w 1213200"/>
              <a:gd name="connsiteY82" fmla="*/ 484473 h 485482"/>
              <a:gd name="connsiteX83" fmla="*/ 843790 w 1213200"/>
              <a:gd name="connsiteY83" fmla="*/ 484473 h 485482"/>
              <a:gd name="connsiteX84" fmla="*/ 579348 w 1213200"/>
              <a:gd name="connsiteY84" fmla="*/ 404232 h 485482"/>
              <a:gd name="connsiteX85" fmla="*/ 630319 w 1213200"/>
              <a:gd name="connsiteY85" fmla="*/ 404232 h 485482"/>
              <a:gd name="connsiteX86" fmla="*/ 630319 w 1213200"/>
              <a:gd name="connsiteY86" fmla="*/ 412307 h 485482"/>
              <a:gd name="connsiteX87" fmla="*/ 588937 w 1213200"/>
              <a:gd name="connsiteY87" fmla="*/ 412307 h 485482"/>
              <a:gd name="connsiteX88" fmla="*/ 588937 w 1213200"/>
              <a:gd name="connsiteY88" fmla="*/ 440063 h 485482"/>
              <a:gd name="connsiteX89" fmla="*/ 625777 w 1213200"/>
              <a:gd name="connsiteY89" fmla="*/ 440063 h 485482"/>
              <a:gd name="connsiteX90" fmla="*/ 625777 w 1213200"/>
              <a:gd name="connsiteY90" fmla="*/ 448642 h 485482"/>
              <a:gd name="connsiteX91" fmla="*/ 588937 w 1213200"/>
              <a:gd name="connsiteY91" fmla="*/ 448642 h 485482"/>
              <a:gd name="connsiteX92" fmla="*/ 588937 w 1213200"/>
              <a:gd name="connsiteY92" fmla="*/ 475894 h 485482"/>
              <a:gd name="connsiteX93" fmla="*/ 630319 w 1213200"/>
              <a:gd name="connsiteY93" fmla="*/ 475894 h 485482"/>
              <a:gd name="connsiteX94" fmla="*/ 630319 w 1213200"/>
              <a:gd name="connsiteY94" fmla="*/ 484473 h 485482"/>
              <a:gd name="connsiteX95" fmla="*/ 579348 w 1213200"/>
              <a:gd name="connsiteY95" fmla="*/ 484473 h 485482"/>
              <a:gd name="connsiteX96" fmla="*/ 499108 w 1213200"/>
              <a:gd name="connsiteY96" fmla="*/ 404232 h 485482"/>
              <a:gd name="connsiteX97" fmla="*/ 508696 w 1213200"/>
              <a:gd name="connsiteY97" fmla="*/ 404232 h 485482"/>
              <a:gd name="connsiteX98" fmla="*/ 508696 w 1213200"/>
              <a:gd name="connsiteY98" fmla="*/ 440063 h 485482"/>
              <a:gd name="connsiteX99" fmla="*/ 549574 w 1213200"/>
              <a:gd name="connsiteY99" fmla="*/ 440063 h 485482"/>
              <a:gd name="connsiteX100" fmla="*/ 549574 w 1213200"/>
              <a:gd name="connsiteY100" fmla="*/ 404232 h 485482"/>
              <a:gd name="connsiteX101" fmla="*/ 559162 w 1213200"/>
              <a:gd name="connsiteY101" fmla="*/ 404232 h 485482"/>
              <a:gd name="connsiteX102" fmla="*/ 559162 w 1213200"/>
              <a:gd name="connsiteY102" fmla="*/ 484473 h 485482"/>
              <a:gd name="connsiteX103" fmla="*/ 549574 w 1213200"/>
              <a:gd name="connsiteY103" fmla="*/ 484473 h 485482"/>
              <a:gd name="connsiteX104" fmla="*/ 549574 w 1213200"/>
              <a:gd name="connsiteY104" fmla="*/ 448642 h 485482"/>
              <a:gd name="connsiteX105" fmla="*/ 508696 w 1213200"/>
              <a:gd name="connsiteY105" fmla="*/ 448642 h 485482"/>
              <a:gd name="connsiteX106" fmla="*/ 508696 w 1213200"/>
              <a:gd name="connsiteY106" fmla="*/ 484473 h 485482"/>
              <a:gd name="connsiteX107" fmla="*/ 499108 w 1213200"/>
              <a:gd name="connsiteY107" fmla="*/ 484473 h 485482"/>
              <a:gd name="connsiteX108" fmla="*/ 272011 w 1213200"/>
              <a:gd name="connsiteY108" fmla="*/ 404232 h 485482"/>
              <a:gd name="connsiteX109" fmla="*/ 302900 w 1213200"/>
              <a:gd name="connsiteY109" fmla="*/ 404232 h 485482"/>
              <a:gd name="connsiteX110" fmla="*/ 329037 w 1213200"/>
              <a:gd name="connsiteY110" fmla="*/ 429382 h 485482"/>
              <a:gd name="connsiteX111" fmla="*/ 313592 w 1213200"/>
              <a:gd name="connsiteY111" fmla="*/ 452137 h 485482"/>
              <a:gd name="connsiteX112" fmla="*/ 329037 w 1213200"/>
              <a:gd name="connsiteY112" fmla="*/ 484473 h 485482"/>
              <a:gd name="connsiteX113" fmla="*/ 318345 w 1213200"/>
              <a:gd name="connsiteY113" fmla="*/ 484473 h 485482"/>
              <a:gd name="connsiteX114" fmla="*/ 304088 w 1213200"/>
              <a:gd name="connsiteY114" fmla="*/ 454532 h 485482"/>
              <a:gd name="connsiteX115" fmla="*/ 281515 w 1213200"/>
              <a:gd name="connsiteY115" fmla="*/ 454532 h 485482"/>
              <a:gd name="connsiteX116" fmla="*/ 281515 w 1213200"/>
              <a:gd name="connsiteY116" fmla="*/ 484473 h 485482"/>
              <a:gd name="connsiteX117" fmla="*/ 272011 w 1213200"/>
              <a:gd name="connsiteY117" fmla="*/ 484473 h 485482"/>
              <a:gd name="connsiteX118" fmla="*/ 122632 w 1213200"/>
              <a:gd name="connsiteY118" fmla="*/ 404232 h 485482"/>
              <a:gd name="connsiteX119" fmla="*/ 152428 w 1213200"/>
              <a:gd name="connsiteY119" fmla="*/ 404232 h 485482"/>
              <a:gd name="connsiteX120" fmla="*/ 178649 w 1213200"/>
              <a:gd name="connsiteY120" fmla="*/ 429382 h 485482"/>
              <a:gd name="connsiteX121" fmla="*/ 152428 w 1213200"/>
              <a:gd name="connsiteY121" fmla="*/ 454532 h 485482"/>
              <a:gd name="connsiteX122" fmla="*/ 132167 w 1213200"/>
              <a:gd name="connsiteY122" fmla="*/ 454532 h 485482"/>
              <a:gd name="connsiteX123" fmla="*/ 132167 w 1213200"/>
              <a:gd name="connsiteY123" fmla="*/ 484473 h 485482"/>
              <a:gd name="connsiteX124" fmla="*/ 122632 w 1213200"/>
              <a:gd name="connsiteY124" fmla="*/ 484473 h 485482"/>
              <a:gd name="connsiteX125" fmla="*/ 29775 w 1213200"/>
              <a:gd name="connsiteY125" fmla="*/ 404232 h 485482"/>
              <a:gd name="connsiteX126" fmla="*/ 41887 w 1213200"/>
              <a:gd name="connsiteY126" fmla="*/ 404232 h 485482"/>
              <a:gd name="connsiteX127" fmla="*/ 71662 w 1213200"/>
              <a:gd name="connsiteY127" fmla="*/ 484473 h 485482"/>
              <a:gd name="connsiteX128" fmla="*/ 61064 w 1213200"/>
              <a:gd name="connsiteY128" fmla="*/ 484473 h 485482"/>
              <a:gd name="connsiteX129" fmla="*/ 53999 w 1213200"/>
              <a:gd name="connsiteY129" fmla="*/ 463782 h 485482"/>
              <a:gd name="connsiteX130" fmla="*/ 18168 w 1213200"/>
              <a:gd name="connsiteY130" fmla="*/ 463782 h 485482"/>
              <a:gd name="connsiteX131" fmla="*/ 9589 w 1213200"/>
              <a:gd name="connsiteY131" fmla="*/ 484473 h 485482"/>
              <a:gd name="connsiteX132" fmla="*/ 0 w 1213200"/>
              <a:gd name="connsiteY132" fmla="*/ 484473 h 485482"/>
              <a:gd name="connsiteX133" fmla="*/ 793576 w 1213200"/>
              <a:gd name="connsiteY133" fmla="*/ 402718 h 485482"/>
              <a:gd name="connsiteX134" fmla="*/ 824613 w 1213200"/>
              <a:gd name="connsiteY134" fmla="*/ 431505 h 485482"/>
              <a:gd name="connsiteX135" fmla="*/ 824613 w 1213200"/>
              <a:gd name="connsiteY135" fmla="*/ 456695 h 485482"/>
              <a:gd name="connsiteX136" fmla="*/ 793576 w 1213200"/>
              <a:gd name="connsiteY136" fmla="*/ 485482 h 485482"/>
              <a:gd name="connsiteX137" fmla="*/ 762540 w 1213200"/>
              <a:gd name="connsiteY137" fmla="*/ 456695 h 485482"/>
              <a:gd name="connsiteX138" fmla="*/ 762540 w 1213200"/>
              <a:gd name="connsiteY138" fmla="*/ 431505 h 485482"/>
              <a:gd name="connsiteX139" fmla="*/ 793576 w 1213200"/>
              <a:gd name="connsiteY139" fmla="*/ 402718 h 485482"/>
              <a:gd name="connsiteX140" fmla="*/ 718476 w 1213200"/>
              <a:gd name="connsiteY140" fmla="*/ 402718 h 485482"/>
              <a:gd name="connsiteX141" fmla="*/ 748409 w 1213200"/>
              <a:gd name="connsiteY141" fmla="*/ 429107 h 485482"/>
              <a:gd name="connsiteX142" fmla="*/ 748409 w 1213200"/>
              <a:gd name="connsiteY142" fmla="*/ 430306 h 485482"/>
              <a:gd name="connsiteX143" fmla="*/ 738830 w 1213200"/>
              <a:gd name="connsiteY143" fmla="*/ 430306 h 485482"/>
              <a:gd name="connsiteX144" fmla="*/ 738830 w 1213200"/>
              <a:gd name="connsiteY144" fmla="*/ 429107 h 485482"/>
              <a:gd name="connsiteX145" fmla="*/ 718476 w 1213200"/>
              <a:gd name="connsiteY145" fmla="*/ 411114 h 485482"/>
              <a:gd name="connsiteX146" fmla="*/ 696924 w 1213200"/>
              <a:gd name="connsiteY146" fmla="*/ 431505 h 485482"/>
              <a:gd name="connsiteX147" fmla="*/ 696924 w 1213200"/>
              <a:gd name="connsiteY147" fmla="*/ 456695 h 485482"/>
              <a:gd name="connsiteX148" fmla="*/ 718476 w 1213200"/>
              <a:gd name="connsiteY148" fmla="*/ 477086 h 485482"/>
              <a:gd name="connsiteX149" fmla="*/ 738830 w 1213200"/>
              <a:gd name="connsiteY149" fmla="*/ 459093 h 485482"/>
              <a:gd name="connsiteX150" fmla="*/ 748409 w 1213200"/>
              <a:gd name="connsiteY150" fmla="*/ 459093 h 485482"/>
              <a:gd name="connsiteX151" fmla="*/ 718476 w 1213200"/>
              <a:gd name="connsiteY151" fmla="*/ 485482 h 485482"/>
              <a:gd name="connsiteX152" fmla="*/ 687345 w 1213200"/>
              <a:gd name="connsiteY152" fmla="*/ 456695 h 485482"/>
              <a:gd name="connsiteX153" fmla="*/ 687345 w 1213200"/>
              <a:gd name="connsiteY153" fmla="*/ 431505 h 485482"/>
              <a:gd name="connsiteX154" fmla="*/ 718476 w 1213200"/>
              <a:gd name="connsiteY154" fmla="*/ 402718 h 485482"/>
              <a:gd name="connsiteX155" fmla="*/ 450572 w 1213200"/>
              <a:gd name="connsiteY155" fmla="*/ 402718 h 485482"/>
              <a:gd name="connsiteX156" fmla="*/ 481445 w 1213200"/>
              <a:gd name="connsiteY156" fmla="*/ 429107 h 485482"/>
              <a:gd name="connsiteX157" fmla="*/ 481445 w 1213200"/>
              <a:gd name="connsiteY157" fmla="*/ 430306 h 485482"/>
              <a:gd name="connsiteX158" fmla="*/ 471946 w 1213200"/>
              <a:gd name="connsiteY158" fmla="*/ 430306 h 485482"/>
              <a:gd name="connsiteX159" fmla="*/ 471946 w 1213200"/>
              <a:gd name="connsiteY159" fmla="*/ 429107 h 485482"/>
              <a:gd name="connsiteX160" fmla="*/ 450572 w 1213200"/>
              <a:gd name="connsiteY160" fmla="*/ 411114 h 485482"/>
              <a:gd name="connsiteX161" fmla="*/ 430385 w 1213200"/>
              <a:gd name="connsiteY161" fmla="*/ 431505 h 485482"/>
              <a:gd name="connsiteX162" fmla="*/ 430385 w 1213200"/>
              <a:gd name="connsiteY162" fmla="*/ 456695 h 485482"/>
              <a:gd name="connsiteX163" fmla="*/ 450572 w 1213200"/>
              <a:gd name="connsiteY163" fmla="*/ 477086 h 485482"/>
              <a:gd name="connsiteX164" fmla="*/ 471946 w 1213200"/>
              <a:gd name="connsiteY164" fmla="*/ 459093 h 485482"/>
              <a:gd name="connsiteX165" fmla="*/ 481445 w 1213200"/>
              <a:gd name="connsiteY165" fmla="*/ 459093 h 485482"/>
              <a:gd name="connsiteX166" fmla="*/ 450572 w 1213200"/>
              <a:gd name="connsiteY166" fmla="*/ 485482 h 485482"/>
              <a:gd name="connsiteX167" fmla="*/ 420886 w 1213200"/>
              <a:gd name="connsiteY167" fmla="*/ 456695 h 485482"/>
              <a:gd name="connsiteX168" fmla="*/ 420886 w 1213200"/>
              <a:gd name="connsiteY168" fmla="*/ 431505 h 485482"/>
              <a:gd name="connsiteX169" fmla="*/ 450572 w 1213200"/>
              <a:gd name="connsiteY169" fmla="*/ 402718 h 485482"/>
              <a:gd name="connsiteX170" fmla="*/ 374364 w 1213200"/>
              <a:gd name="connsiteY170" fmla="*/ 402718 h 485482"/>
              <a:gd name="connsiteX171" fmla="*/ 403036 w 1213200"/>
              <a:gd name="connsiteY171" fmla="*/ 426708 h 485482"/>
              <a:gd name="connsiteX172" fmla="*/ 403036 w 1213200"/>
              <a:gd name="connsiteY172" fmla="*/ 427907 h 485482"/>
              <a:gd name="connsiteX173" fmla="*/ 393479 w 1213200"/>
              <a:gd name="connsiteY173" fmla="*/ 427907 h 485482"/>
              <a:gd name="connsiteX174" fmla="*/ 393479 w 1213200"/>
              <a:gd name="connsiteY174" fmla="*/ 426708 h 485482"/>
              <a:gd name="connsiteX175" fmla="*/ 374364 w 1213200"/>
              <a:gd name="connsiteY175" fmla="*/ 411114 h 485482"/>
              <a:gd name="connsiteX176" fmla="*/ 356443 w 1213200"/>
              <a:gd name="connsiteY176" fmla="*/ 424309 h 485482"/>
              <a:gd name="connsiteX177" fmla="*/ 368390 w 1213200"/>
              <a:gd name="connsiteY177" fmla="*/ 437503 h 485482"/>
              <a:gd name="connsiteX178" fmla="*/ 383921 w 1213200"/>
              <a:gd name="connsiteY178" fmla="*/ 441101 h 485482"/>
              <a:gd name="connsiteX179" fmla="*/ 404231 w 1213200"/>
              <a:gd name="connsiteY179" fmla="*/ 462692 h 485482"/>
              <a:gd name="connsiteX180" fmla="*/ 374364 w 1213200"/>
              <a:gd name="connsiteY180" fmla="*/ 485482 h 485482"/>
              <a:gd name="connsiteX181" fmla="*/ 345691 w 1213200"/>
              <a:gd name="connsiteY181" fmla="*/ 461492 h 485482"/>
              <a:gd name="connsiteX182" fmla="*/ 345691 w 1213200"/>
              <a:gd name="connsiteY182" fmla="*/ 460293 h 485482"/>
              <a:gd name="connsiteX183" fmla="*/ 355249 w 1213200"/>
              <a:gd name="connsiteY183" fmla="*/ 460293 h 485482"/>
              <a:gd name="connsiteX184" fmla="*/ 355249 w 1213200"/>
              <a:gd name="connsiteY184" fmla="*/ 461492 h 485482"/>
              <a:gd name="connsiteX185" fmla="*/ 374364 w 1213200"/>
              <a:gd name="connsiteY185" fmla="*/ 477086 h 485482"/>
              <a:gd name="connsiteX186" fmla="*/ 393479 w 1213200"/>
              <a:gd name="connsiteY186" fmla="*/ 462692 h 485482"/>
              <a:gd name="connsiteX187" fmla="*/ 381532 w 1213200"/>
              <a:gd name="connsiteY187" fmla="*/ 449498 h 485482"/>
              <a:gd name="connsiteX188" fmla="*/ 366001 w 1213200"/>
              <a:gd name="connsiteY188" fmla="*/ 447099 h 485482"/>
              <a:gd name="connsiteX189" fmla="*/ 346886 w 1213200"/>
              <a:gd name="connsiteY189" fmla="*/ 425508 h 485482"/>
              <a:gd name="connsiteX190" fmla="*/ 374364 w 1213200"/>
              <a:gd name="connsiteY190" fmla="*/ 402718 h 485482"/>
              <a:gd name="connsiteX191" fmla="*/ 221798 w 1213200"/>
              <a:gd name="connsiteY191" fmla="*/ 402718 h 485482"/>
              <a:gd name="connsiteX192" fmla="*/ 252834 w 1213200"/>
              <a:gd name="connsiteY192" fmla="*/ 431505 h 485482"/>
              <a:gd name="connsiteX193" fmla="*/ 252834 w 1213200"/>
              <a:gd name="connsiteY193" fmla="*/ 456695 h 485482"/>
              <a:gd name="connsiteX194" fmla="*/ 221798 w 1213200"/>
              <a:gd name="connsiteY194" fmla="*/ 485482 h 485482"/>
              <a:gd name="connsiteX195" fmla="*/ 190761 w 1213200"/>
              <a:gd name="connsiteY195" fmla="*/ 456695 h 485482"/>
              <a:gd name="connsiteX196" fmla="*/ 190761 w 1213200"/>
              <a:gd name="connsiteY196" fmla="*/ 431505 h 485482"/>
              <a:gd name="connsiteX197" fmla="*/ 221798 w 1213200"/>
              <a:gd name="connsiteY197" fmla="*/ 402718 h 485482"/>
              <a:gd name="connsiteX198" fmla="*/ 1049691 w 1213200"/>
              <a:gd name="connsiteY198" fmla="*/ 43905 h 485482"/>
              <a:gd name="connsiteX199" fmla="*/ 1049691 w 1213200"/>
              <a:gd name="connsiteY199" fmla="*/ 130202 h 485482"/>
              <a:gd name="connsiteX200" fmla="*/ 1114157 w 1213200"/>
              <a:gd name="connsiteY200" fmla="*/ 130202 h 485482"/>
              <a:gd name="connsiteX201" fmla="*/ 1160716 w 1213200"/>
              <a:gd name="connsiteY201" fmla="*/ 87054 h 485482"/>
              <a:gd name="connsiteX202" fmla="*/ 1114157 w 1213200"/>
              <a:gd name="connsiteY202" fmla="*/ 43905 h 485482"/>
              <a:gd name="connsiteX203" fmla="*/ 1049691 w 1213200"/>
              <a:gd name="connsiteY203" fmla="*/ 43905 h 485482"/>
              <a:gd name="connsiteX204" fmla="*/ 999729 w 1213200"/>
              <a:gd name="connsiteY204" fmla="*/ 0 h 485482"/>
              <a:gd name="connsiteX205" fmla="*/ 1115234 w 1213200"/>
              <a:gd name="connsiteY205" fmla="*/ 0 h 485482"/>
              <a:gd name="connsiteX206" fmla="*/ 1211686 w 1213200"/>
              <a:gd name="connsiteY206" fmla="*/ 87253 h 485482"/>
              <a:gd name="connsiteX207" fmla="*/ 1115234 w 1213200"/>
              <a:gd name="connsiteY207" fmla="*/ 173311 h 485482"/>
              <a:gd name="connsiteX208" fmla="*/ 1049741 w 1213200"/>
              <a:gd name="connsiteY208" fmla="*/ 173311 h 485482"/>
              <a:gd name="connsiteX209" fmla="*/ 1049741 w 1213200"/>
              <a:gd name="connsiteY209" fmla="*/ 295226 h 485482"/>
              <a:gd name="connsiteX210" fmla="*/ 999729 w 1213200"/>
              <a:gd name="connsiteY210" fmla="*/ 295226 h 485482"/>
              <a:gd name="connsiteX211" fmla="*/ 999729 w 1213200"/>
              <a:gd name="connsiteY211" fmla="*/ 0 h 485482"/>
              <a:gd name="connsiteX212" fmla="*/ 717625 w 1213200"/>
              <a:gd name="connsiteY212" fmla="*/ 0 h 485482"/>
              <a:gd name="connsiteX213" fmla="*/ 767586 w 1213200"/>
              <a:gd name="connsiteY213" fmla="*/ 0 h 485482"/>
              <a:gd name="connsiteX214" fmla="*/ 767586 w 1213200"/>
              <a:gd name="connsiteY214" fmla="*/ 129193 h 485482"/>
              <a:gd name="connsiteX215" fmla="*/ 893751 w 1213200"/>
              <a:gd name="connsiteY215" fmla="*/ 129193 h 485482"/>
              <a:gd name="connsiteX216" fmla="*/ 893751 w 1213200"/>
              <a:gd name="connsiteY216" fmla="*/ 0 h 485482"/>
              <a:gd name="connsiteX217" fmla="*/ 943712 w 1213200"/>
              <a:gd name="connsiteY217" fmla="*/ 0 h 485482"/>
              <a:gd name="connsiteX218" fmla="*/ 943712 w 1213200"/>
              <a:gd name="connsiteY218" fmla="*/ 295226 h 485482"/>
              <a:gd name="connsiteX219" fmla="*/ 893751 w 1213200"/>
              <a:gd name="connsiteY219" fmla="*/ 295226 h 485482"/>
              <a:gd name="connsiteX220" fmla="*/ 893751 w 1213200"/>
              <a:gd name="connsiteY220" fmla="*/ 173098 h 485482"/>
              <a:gd name="connsiteX221" fmla="*/ 767586 w 1213200"/>
              <a:gd name="connsiteY221" fmla="*/ 173098 h 485482"/>
              <a:gd name="connsiteX222" fmla="*/ 767586 w 1213200"/>
              <a:gd name="connsiteY222" fmla="*/ 295226 h 485482"/>
              <a:gd name="connsiteX223" fmla="*/ 717625 w 1213200"/>
              <a:gd name="connsiteY223" fmla="*/ 295226 h 485482"/>
              <a:gd name="connsiteX224" fmla="*/ 401708 w 1213200"/>
              <a:gd name="connsiteY224" fmla="*/ 0 h 485482"/>
              <a:gd name="connsiteX225" fmla="*/ 448137 w 1213200"/>
              <a:gd name="connsiteY225" fmla="*/ 0 h 485482"/>
              <a:gd name="connsiteX226" fmla="*/ 531405 w 1213200"/>
              <a:gd name="connsiteY226" fmla="*/ 135249 h 485482"/>
              <a:gd name="connsiteX227" fmla="*/ 616188 w 1213200"/>
              <a:gd name="connsiteY227" fmla="*/ 0 h 485482"/>
              <a:gd name="connsiteX228" fmla="*/ 661607 w 1213200"/>
              <a:gd name="connsiteY228" fmla="*/ 0 h 485482"/>
              <a:gd name="connsiteX229" fmla="*/ 661607 w 1213200"/>
              <a:gd name="connsiteY229" fmla="*/ 295226 h 485482"/>
              <a:gd name="connsiteX230" fmla="*/ 612655 w 1213200"/>
              <a:gd name="connsiteY230" fmla="*/ 295226 h 485482"/>
              <a:gd name="connsiteX231" fmla="*/ 612655 w 1213200"/>
              <a:gd name="connsiteY231" fmla="*/ 93362 h 485482"/>
              <a:gd name="connsiteX232" fmla="*/ 531405 w 1213200"/>
              <a:gd name="connsiteY232" fmla="*/ 221041 h 485482"/>
              <a:gd name="connsiteX233" fmla="*/ 451669 w 1213200"/>
              <a:gd name="connsiteY233" fmla="*/ 93362 h 485482"/>
              <a:gd name="connsiteX234" fmla="*/ 451669 w 1213200"/>
              <a:gd name="connsiteY234" fmla="*/ 295226 h 485482"/>
              <a:gd name="connsiteX235" fmla="*/ 401708 w 1213200"/>
              <a:gd name="connsiteY235" fmla="*/ 295226 h 485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1213200" h="485482">
                <a:moveTo>
                  <a:pt x="1022440" y="413820"/>
                </a:moveTo>
                <a:lnTo>
                  <a:pt x="1006795" y="455707"/>
                </a:lnTo>
                <a:lnTo>
                  <a:pt x="1038084" y="455707"/>
                </a:lnTo>
                <a:close/>
                <a:moveTo>
                  <a:pt x="35830" y="413820"/>
                </a:moveTo>
                <a:lnTo>
                  <a:pt x="20186" y="455707"/>
                </a:lnTo>
                <a:lnTo>
                  <a:pt x="51475" y="455707"/>
                </a:lnTo>
                <a:close/>
                <a:moveTo>
                  <a:pt x="942703" y="412306"/>
                </a:moveTo>
                <a:lnTo>
                  <a:pt x="942703" y="446118"/>
                </a:lnTo>
                <a:cubicBezTo>
                  <a:pt x="962906" y="446118"/>
                  <a:pt x="962906" y="446118"/>
                  <a:pt x="962906" y="446118"/>
                </a:cubicBezTo>
                <a:cubicBezTo>
                  <a:pt x="972413" y="446118"/>
                  <a:pt x="979543" y="441288"/>
                  <a:pt x="979543" y="429212"/>
                </a:cubicBezTo>
                <a:cubicBezTo>
                  <a:pt x="979543" y="417136"/>
                  <a:pt x="972413" y="412306"/>
                  <a:pt x="962906" y="412306"/>
                </a:cubicBezTo>
                <a:cubicBezTo>
                  <a:pt x="942703" y="412306"/>
                  <a:pt x="942703" y="412306"/>
                  <a:pt x="942703" y="412306"/>
                </a:cubicBezTo>
                <a:close/>
                <a:moveTo>
                  <a:pt x="281095" y="412306"/>
                </a:moveTo>
                <a:lnTo>
                  <a:pt x="281095" y="446118"/>
                </a:lnTo>
                <a:cubicBezTo>
                  <a:pt x="302669" y="446118"/>
                  <a:pt x="302669" y="446118"/>
                  <a:pt x="302669" y="446118"/>
                </a:cubicBezTo>
                <a:cubicBezTo>
                  <a:pt x="312258" y="446118"/>
                  <a:pt x="319449" y="441288"/>
                  <a:pt x="319449" y="429212"/>
                </a:cubicBezTo>
                <a:cubicBezTo>
                  <a:pt x="319449" y="417136"/>
                  <a:pt x="312258" y="412306"/>
                  <a:pt x="302669" y="412306"/>
                </a:cubicBezTo>
                <a:cubicBezTo>
                  <a:pt x="281095" y="412306"/>
                  <a:pt x="281095" y="412306"/>
                  <a:pt x="281095" y="412306"/>
                </a:cubicBezTo>
                <a:close/>
                <a:moveTo>
                  <a:pt x="132221" y="412306"/>
                </a:moveTo>
                <a:lnTo>
                  <a:pt x="132221" y="446118"/>
                </a:lnTo>
                <a:cubicBezTo>
                  <a:pt x="152525" y="446118"/>
                  <a:pt x="152525" y="446118"/>
                  <a:pt x="152525" y="446118"/>
                </a:cubicBezTo>
                <a:cubicBezTo>
                  <a:pt x="162080" y="446118"/>
                  <a:pt x="168052" y="441288"/>
                  <a:pt x="168052" y="429212"/>
                </a:cubicBezTo>
                <a:cubicBezTo>
                  <a:pt x="168052" y="417136"/>
                  <a:pt x="162080" y="412306"/>
                  <a:pt x="152525" y="412306"/>
                </a:cubicBezTo>
                <a:cubicBezTo>
                  <a:pt x="132221" y="412306"/>
                  <a:pt x="132221" y="412306"/>
                  <a:pt x="132221" y="412306"/>
                </a:cubicBezTo>
                <a:close/>
                <a:moveTo>
                  <a:pt x="793576" y="411297"/>
                </a:moveTo>
                <a:cubicBezTo>
                  <a:pt x="780469" y="411297"/>
                  <a:pt x="772128" y="418454"/>
                  <a:pt x="772128" y="431575"/>
                </a:cubicBezTo>
                <a:cubicBezTo>
                  <a:pt x="772128" y="456625"/>
                  <a:pt x="772128" y="456625"/>
                  <a:pt x="772128" y="456625"/>
                </a:cubicBezTo>
                <a:cubicBezTo>
                  <a:pt x="772128" y="469746"/>
                  <a:pt x="780469" y="476903"/>
                  <a:pt x="793576" y="476903"/>
                </a:cubicBezTo>
                <a:cubicBezTo>
                  <a:pt x="807875" y="476903"/>
                  <a:pt x="815024" y="469746"/>
                  <a:pt x="815024" y="456625"/>
                </a:cubicBezTo>
                <a:lnTo>
                  <a:pt x="815024" y="431575"/>
                </a:lnTo>
                <a:cubicBezTo>
                  <a:pt x="815024" y="418454"/>
                  <a:pt x="807875" y="411297"/>
                  <a:pt x="793576" y="411297"/>
                </a:cubicBezTo>
                <a:close/>
                <a:moveTo>
                  <a:pt x="221798" y="411297"/>
                </a:moveTo>
                <a:cubicBezTo>
                  <a:pt x="207499" y="411297"/>
                  <a:pt x="200350" y="418454"/>
                  <a:pt x="200350" y="431575"/>
                </a:cubicBezTo>
                <a:cubicBezTo>
                  <a:pt x="200350" y="456625"/>
                  <a:pt x="200350" y="456625"/>
                  <a:pt x="200350" y="456625"/>
                </a:cubicBezTo>
                <a:cubicBezTo>
                  <a:pt x="200350" y="469746"/>
                  <a:pt x="207499" y="476903"/>
                  <a:pt x="221798" y="476903"/>
                </a:cubicBezTo>
                <a:cubicBezTo>
                  <a:pt x="234905" y="476903"/>
                  <a:pt x="243246" y="469746"/>
                  <a:pt x="243246" y="456625"/>
                </a:cubicBezTo>
                <a:lnTo>
                  <a:pt x="243246" y="431575"/>
                </a:lnTo>
                <a:cubicBezTo>
                  <a:pt x="243246" y="418454"/>
                  <a:pt x="234905" y="411297"/>
                  <a:pt x="221798" y="411297"/>
                </a:cubicBezTo>
                <a:close/>
                <a:moveTo>
                  <a:pt x="1144062" y="404232"/>
                </a:moveTo>
                <a:lnTo>
                  <a:pt x="1154660" y="404232"/>
                </a:lnTo>
                <a:lnTo>
                  <a:pt x="1178379" y="443596"/>
                </a:lnTo>
                <a:lnTo>
                  <a:pt x="1201088" y="404232"/>
                </a:lnTo>
                <a:lnTo>
                  <a:pt x="1213200" y="404232"/>
                </a:lnTo>
                <a:lnTo>
                  <a:pt x="1183425" y="453184"/>
                </a:lnTo>
                <a:lnTo>
                  <a:pt x="1183425" y="484473"/>
                </a:lnTo>
                <a:lnTo>
                  <a:pt x="1173837" y="484473"/>
                </a:lnTo>
                <a:lnTo>
                  <a:pt x="1173837" y="453184"/>
                </a:lnTo>
                <a:close/>
                <a:moveTo>
                  <a:pt x="1071391" y="404232"/>
                </a:moveTo>
                <a:lnTo>
                  <a:pt x="1079466" y="404232"/>
                </a:lnTo>
                <a:lnTo>
                  <a:pt x="1121352" y="467315"/>
                </a:lnTo>
                <a:lnTo>
                  <a:pt x="1121352" y="404232"/>
                </a:lnTo>
                <a:lnTo>
                  <a:pt x="1130941" y="404232"/>
                </a:lnTo>
                <a:lnTo>
                  <a:pt x="1130941" y="484473"/>
                </a:lnTo>
                <a:lnTo>
                  <a:pt x="1122362" y="484473"/>
                </a:lnTo>
                <a:lnTo>
                  <a:pt x="1080980" y="420886"/>
                </a:lnTo>
                <a:lnTo>
                  <a:pt x="1080980" y="484473"/>
                </a:lnTo>
                <a:lnTo>
                  <a:pt x="1071391" y="484473"/>
                </a:lnTo>
                <a:close/>
                <a:moveTo>
                  <a:pt x="1017392" y="404232"/>
                </a:moveTo>
                <a:lnTo>
                  <a:pt x="1029504" y="404232"/>
                </a:lnTo>
                <a:lnTo>
                  <a:pt x="1058269" y="484473"/>
                </a:lnTo>
                <a:lnTo>
                  <a:pt x="1048681" y="484473"/>
                </a:lnTo>
                <a:lnTo>
                  <a:pt x="1040101" y="463782"/>
                </a:lnTo>
                <a:lnTo>
                  <a:pt x="1004271" y="463782"/>
                </a:lnTo>
                <a:lnTo>
                  <a:pt x="997205" y="484473"/>
                </a:lnTo>
                <a:lnTo>
                  <a:pt x="987617" y="484473"/>
                </a:lnTo>
                <a:close/>
                <a:moveTo>
                  <a:pt x="933114" y="404232"/>
                </a:moveTo>
                <a:cubicBezTo>
                  <a:pt x="962910" y="404232"/>
                  <a:pt x="962910" y="404232"/>
                  <a:pt x="962910" y="404232"/>
                </a:cubicBezTo>
                <a:cubicBezTo>
                  <a:pt x="978404" y="404232"/>
                  <a:pt x="989131" y="411418"/>
                  <a:pt x="989131" y="429382"/>
                </a:cubicBezTo>
                <a:cubicBezTo>
                  <a:pt x="989131" y="446149"/>
                  <a:pt x="978404" y="454532"/>
                  <a:pt x="962910" y="454532"/>
                </a:cubicBezTo>
                <a:cubicBezTo>
                  <a:pt x="942649" y="454532"/>
                  <a:pt x="942649" y="454532"/>
                  <a:pt x="942649" y="454532"/>
                </a:cubicBezTo>
                <a:cubicBezTo>
                  <a:pt x="942649" y="484473"/>
                  <a:pt x="942649" y="484473"/>
                  <a:pt x="942649" y="484473"/>
                </a:cubicBezTo>
                <a:cubicBezTo>
                  <a:pt x="933114" y="484473"/>
                  <a:pt x="933114" y="484473"/>
                  <a:pt x="933114" y="484473"/>
                </a:cubicBezTo>
                <a:close/>
                <a:moveTo>
                  <a:pt x="843790" y="404232"/>
                </a:moveTo>
                <a:lnTo>
                  <a:pt x="853378" y="404232"/>
                </a:lnTo>
                <a:lnTo>
                  <a:pt x="878107" y="452175"/>
                </a:lnTo>
                <a:lnTo>
                  <a:pt x="903340" y="404232"/>
                </a:lnTo>
                <a:lnTo>
                  <a:pt x="912928" y="404232"/>
                </a:lnTo>
                <a:lnTo>
                  <a:pt x="912928" y="484473"/>
                </a:lnTo>
                <a:lnTo>
                  <a:pt x="903340" y="484473"/>
                </a:lnTo>
                <a:lnTo>
                  <a:pt x="903340" y="423409"/>
                </a:lnTo>
                <a:lnTo>
                  <a:pt x="878107" y="469838"/>
                </a:lnTo>
                <a:lnTo>
                  <a:pt x="853378" y="423409"/>
                </a:lnTo>
                <a:lnTo>
                  <a:pt x="853378" y="484473"/>
                </a:lnTo>
                <a:lnTo>
                  <a:pt x="843790" y="484473"/>
                </a:lnTo>
                <a:close/>
                <a:moveTo>
                  <a:pt x="579348" y="404232"/>
                </a:moveTo>
                <a:lnTo>
                  <a:pt x="630319" y="404232"/>
                </a:lnTo>
                <a:lnTo>
                  <a:pt x="630319" y="412307"/>
                </a:lnTo>
                <a:lnTo>
                  <a:pt x="588937" y="412307"/>
                </a:lnTo>
                <a:lnTo>
                  <a:pt x="588937" y="440063"/>
                </a:lnTo>
                <a:lnTo>
                  <a:pt x="625777" y="440063"/>
                </a:lnTo>
                <a:lnTo>
                  <a:pt x="625777" y="448642"/>
                </a:lnTo>
                <a:lnTo>
                  <a:pt x="588937" y="448642"/>
                </a:lnTo>
                <a:lnTo>
                  <a:pt x="588937" y="475894"/>
                </a:lnTo>
                <a:lnTo>
                  <a:pt x="630319" y="475894"/>
                </a:lnTo>
                <a:lnTo>
                  <a:pt x="630319" y="484473"/>
                </a:lnTo>
                <a:lnTo>
                  <a:pt x="579348" y="484473"/>
                </a:lnTo>
                <a:close/>
                <a:moveTo>
                  <a:pt x="499108" y="404232"/>
                </a:moveTo>
                <a:lnTo>
                  <a:pt x="508696" y="404232"/>
                </a:lnTo>
                <a:lnTo>
                  <a:pt x="508696" y="440063"/>
                </a:lnTo>
                <a:lnTo>
                  <a:pt x="549574" y="440063"/>
                </a:lnTo>
                <a:lnTo>
                  <a:pt x="549574" y="404232"/>
                </a:lnTo>
                <a:lnTo>
                  <a:pt x="559162" y="404232"/>
                </a:lnTo>
                <a:lnTo>
                  <a:pt x="559162" y="484473"/>
                </a:lnTo>
                <a:lnTo>
                  <a:pt x="549574" y="484473"/>
                </a:lnTo>
                <a:lnTo>
                  <a:pt x="549574" y="448642"/>
                </a:lnTo>
                <a:lnTo>
                  <a:pt x="508696" y="448642"/>
                </a:lnTo>
                <a:lnTo>
                  <a:pt x="508696" y="484473"/>
                </a:lnTo>
                <a:lnTo>
                  <a:pt x="499108" y="484473"/>
                </a:lnTo>
                <a:close/>
                <a:moveTo>
                  <a:pt x="272011" y="404232"/>
                </a:moveTo>
                <a:cubicBezTo>
                  <a:pt x="302900" y="404232"/>
                  <a:pt x="302900" y="404232"/>
                  <a:pt x="302900" y="404232"/>
                </a:cubicBezTo>
                <a:cubicBezTo>
                  <a:pt x="318345" y="404232"/>
                  <a:pt x="329037" y="411418"/>
                  <a:pt x="329037" y="429382"/>
                </a:cubicBezTo>
                <a:cubicBezTo>
                  <a:pt x="329037" y="442556"/>
                  <a:pt x="323097" y="449742"/>
                  <a:pt x="313592" y="452137"/>
                </a:cubicBezTo>
                <a:cubicBezTo>
                  <a:pt x="329037" y="484473"/>
                  <a:pt x="329037" y="484473"/>
                  <a:pt x="329037" y="484473"/>
                </a:cubicBezTo>
                <a:cubicBezTo>
                  <a:pt x="318345" y="484473"/>
                  <a:pt x="318345" y="484473"/>
                  <a:pt x="318345" y="484473"/>
                </a:cubicBezTo>
                <a:cubicBezTo>
                  <a:pt x="304088" y="454532"/>
                  <a:pt x="304088" y="454532"/>
                  <a:pt x="304088" y="454532"/>
                </a:cubicBezTo>
                <a:cubicBezTo>
                  <a:pt x="281515" y="454532"/>
                  <a:pt x="281515" y="454532"/>
                  <a:pt x="281515" y="454532"/>
                </a:cubicBezTo>
                <a:cubicBezTo>
                  <a:pt x="281515" y="484473"/>
                  <a:pt x="281515" y="484473"/>
                  <a:pt x="281515" y="484473"/>
                </a:cubicBezTo>
                <a:cubicBezTo>
                  <a:pt x="272011" y="484473"/>
                  <a:pt x="272011" y="484473"/>
                  <a:pt x="272011" y="484473"/>
                </a:cubicBezTo>
                <a:close/>
                <a:moveTo>
                  <a:pt x="122632" y="404232"/>
                </a:moveTo>
                <a:cubicBezTo>
                  <a:pt x="152428" y="404232"/>
                  <a:pt x="152428" y="404232"/>
                  <a:pt x="152428" y="404232"/>
                </a:cubicBezTo>
                <a:cubicBezTo>
                  <a:pt x="167922" y="404232"/>
                  <a:pt x="178649" y="411418"/>
                  <a:pt x="178649" y="429382"/>
                </a:cubicBezTo>
                <a:cubicBezTo>
                  <a:pt x="178649" y="446149"/>
                  <a:pt x="167922" y="454532"/>
                  <a:pt x="152428" y="454532"/>
                </a:cubicBezTo>
                <a:cubicBezTo>
                  <a:pt x="132167" y="454532"/>
                  <a:pt x="132167" y="454532"/>
                  <a:pt x="132167" y="454532"/>
                </a:cubicBezTo>
                <a:cubicBezTo>
                  <a:pt x="132167" y="484473"/>
                  <a:pt x="132167" y="484473"/>
                  <a:pt x="132167" y="484473"/>
                </a:cubicBezTo>
                <a:cubicBezTo>
                  <a:pt x="122632" y="484473"/>
                  <a:pt x="122632" y="484473"/>
                  <a:pt x="122632" y="484473"/>
                </a:cubicBezTo>
                <a:close/>
                <a:moveTo>
                  <a:pt x="29775" y="404232"/>
                </a:moveTo>
                <a:lnTo>
                  <a:pt x="41887" y="404232"/>
                </a:lnTo>
                <a:lnTo>
                  <a:pt x="71662" y="484473"/>
                </a:lnTo>
                <a:lnTo>
                  <a:pt x="61064" y="484473"/>
                </a:lnTo>
                <a:lnTo>
                  <a:pt x="53999" y="463782"/>
                </a:lnTo>
                <a:lnTo>
                  <a:pt x="18168" y="463782"/>
                </a:lnTo>
                <a:lnTo>
                  <a:pt x="9589" y="484473"/>
                </a:lnTo>
                <a:lnTo>
                  <a:pt x="0" y="484473"/>
                </a:lnTo>
                <a:close/>
                <a:moveTo>
                  <a:pt x="793576" y="402718"/>
                </a:moveTo>
                <a:cubicBezTo>
                  <a:pt x="812676" y="402718"/>
                  <a:pt x="824613" y="413513"/>
                  <a:pt x="824613" y="431505"/>
                </a:cubicBezTo>
                <a:lnTo>
                  <a:pt x="824613" y="456695"/>
                </a:lnTo>
                <a:cubicBezTo>
                  <a:pt x="824613" y="474687"/>
                  <a:pt x="812676" y="485482"/>
                  <a:pt x="793576" y="485482"/>
                </a:cubicBezTo>
                <a:cubicBezTo>
                  <a:pt x="774477" y="485482"/>
                  <a:pt x="762540" y="474687"/>
                  <a:pt x="762540" y="456695"/>
                </a:cubicBezTo>
                <a:cubicBezTo>
                  <a:pt x="762540" y="431505"/>
                  <a:pt x="762540" y="431505"/>
                  <a:pt x="762540" y="431505"/>
                </a:cubicBezTo>
                <a:cubicBezTo>
                  <a:pt x="762540" y="413513"/>
                  <a:pt x="774477" y="402718"/>
                  <a:pt x="793576" y="402718"/>
                </a:cubicBezTo>
                <a:close/>
                <a:moveTo>
                  <a:pt x="718476" y="402718"/>
                </a:moveTo>
                <a:cubicBezTo>
                  <a:pt x="736436" y="402718"/>
                  <a:pt x="748409" y="412314"/>
                  <a:pt x="748409" y="429107"/>
                </a:cubicBezTo>
                <a:cubicBezTo>
                  <a:pt x="748409" y="430306"/>
                  <a:pt x="748409" y="430306"/>
                  <a:pt x="748409" y="430306"/>
                </a:cubicBezTo>
                <a:cubicBezTo>
                  <a:pt x="738830" y="430306"/>
                  <a:pt x="738830" y="430306"/>
                  <a:pt x="738830" y="430306"/>
                </a:cubicBezTo>
                <a:cubicBezTo>
                  <a:pt x="738830" y="429107"/>
                  <a:pt x="738830" y="429107"/>
                  <a:pt x="738830" y="429107"/>
                </a:cubicBezTo>
                <a:cubicBezTo>
                  <a:pt x="738830" y="418311"/>
                  <a:pt x="730449" y="411114"/>
                  <a:pt x="718476" y="411114"/>
                </a:cubicBezTo>
                <a:cubicBezTo>
                  <a:pt x="704108" y="411114"/>
                  <a:pt x="696924" y="418311"/>
                  <a:pt x="696924" y="431505"/>
                </a:cubicBezTo>
                <a:cubicBezTo>
                  <a:pt x="696924" y="456695"/>
                  <a:pt x="696924" y="456695"/>
                  <a:pt x="696924" y="456695"/>
                </a:cubicBezTo>
                <a:cubicBezTo>
                  <a:pt x="696924" y="469889"/>
                  <a:pt x="704108" y="477086"/>
                  <a:pt x="718476" y="477086"/>
                </a:cubicBezTo>
                <a:cubicBezTo>
                  <a:pt x="730449" y="477086"/>
                  <a:pt x="738830" y="471088"/>
                  <a:pt x="738830" y="459093"/>
                </a:cubicBezTo>
                <a:lnTo>
                  <a:pt x="748409" y="459093"/>
                </a:lnTo>
                <a:cubicBezTo>
                  <a:pt x="748409" y="475886"/>
                  <a:pt x="736436" y="485482"/>
                  <a:pt x="718476" y="485482"/>
                </a:cubicBezTo>
                <a:cubicBezTo>
                  <a:pt x="699318" y="485482"/>
                  <a:pt x="687345" y="474687"/>
                  <a:pt x="687345" y="456695"/>
                </a:cubicBezTo>
                <a:cubicBezTo>
                  <a:pt x="687345" y="431505"/>
                  <a:pt x="687345" y="431505"/>
                  <a:pt x="687345" y="431505"/>
                </a:cubicBezTo>
                <a:cubicBezTo>
                  <a:pt x="687345" y="413513"/>
                  <a:pt x="699318" y="402718"/>
                  <a:pt x="718476" y="402718"/>
                </a:cubicBezTo>
                <a:close/>
                <a:moveTo>
                  <a:pt x="450572" y="402718"/>
                </a:moveTo>
                <a:cubicBezTo>
                  <a:pt x="469571" y="402718"/>
                  <a:pt x="481445" y="412314"/>
                  <a:pt x="481445" y="429107"/>
                </a:cubicBezTo>
                <a:cubicBezTo>
                  <a:pt x="481445" y="430306"/>
                  <a:pt x="481445" y="430306"/>
                  <a:pt x="481445" y="430306"/>
                </a:cubicBezTo>
                <a:cubicBezTo>
                  <a:pt x="471946" y="430306"/>
                  <a:pt x="471946" y="430306"/>
                  <a:pt x="471946" y="430306"/>
                </a:cubicBezTo>
                <a:cubicBezTo>
                  <a:pt x="471946" y="429107"/>
                  <a:pt x="471946" y="429107"/>
                  <a:pt x="471946" y="429107"/>
                </a:cubicBezTo>
                <a:cubicBezTo>
                  <a:pt x="471946" y="418311"/>
                  <a:pt x="463634" y="411114"/>
                  <a:pt x="450572" y="411114"/>
                </a:cubicBezTo>
                <a:cubicBezTo>
                  <a:pt x="437510" y="411114"/>
                  <a:pt x="430385" y="418311"/>
                  <a:pt x="430385" y="431505"/>
                </a:cubicBezTo>
                <a:cubicBezTo>
                  <a:pt x="430385" y="456695"/>
                  <a:pt x="430385" y="456695"/>
                  <a:pt x="430385" y="456695"/>
                </a:cubicBezTo>
                <a:cubicBezTo>
                  <a:pt x="430385" y="469889"/>
                  <a:pt x="437510" y="477086"/>
                  <a:pt x="450572" y="477086"/>
                </a:cubicBezTo>
                <a:cubicBezTo>
                  <a:pt x="463634" y="477086"/>
                  <a:pt x="471946" y="471088"/>
                  <a:pt x="471946" y="459093"/>
                </a:cubicBezTo>
                <a:lnTo>
                  <a:pt x="481445" y="459093"/>
                </a:lnTo>
                <a:cubicBezTo>
                  <a:pt x="481445" y="475886"/>
                  <a:pt x="469571" y="485482"/>
                  <a:pt x="450572" y="485482"/>
                </a:cubicBezTo>
                <a:cubicBezTo>
                  <a:pt x="431573" y="485482"/>
                  <a:pt x="420886" y="474687"/>
                  <a:pt x="420886" y="456695"/>
                </a:cubicBezTo>
                <a:cubicBezTo>
                  <a:pt x="420886" y="431505"/>
                  <a:pt x="420886" y="431505"/>
                  <a:pt x="420886" y="431505"/>
                </a:cubicBezTo>
                <a:cubicBezTo>
                  <a:pt x="420886" y="413513"/>
                  <a:pt x="431573" y="402718"/>
                  <a:pt x="450572" y="402718"/>
                </a:cubicBezTo>
                <a:close/>
                <a:moveTo>
                  <a:pt x="374364" y="402718"/>
                </a:moveTo>
                <a:cubicBezTo>
                  <a:pt x="393479" y="402718"/>
                  <a:pt x="403036" y="411114"/>
                  <a:pt x="403036" y="426708"/>
                </a:cubicBezTo>
                <a:cubicBezTo>
                  <a:pt x="403036" y="427907"/>
                  <a:pt x="403036" y="427907"/>
                  <a:pt x="403036" y="427907"/>
                </a:cubicBezTo>
                <a:cubicBezTo>
                  <a:pt x="393479" y="427907"/>
                  <a:pt x="393479" y="427907"/>
                  <a:pt x="393479" y="427907"/>
                </a:cubicBezTo>
                <a:cubicBezTo>
                  <a:pt x="393479" y="426708"/>
                  <a:pt x="393479" y="426708"/>
                  <a:pt x="393479" y="426708"/>
                </a:cubicBezTo>
                <a:cubicBezTo>
                  <a:pt x="393479" y="415912"/>
                  <a:pt x="387505" y="411114"/>
                  <a:pt x="374364" y="411114"/>
                </a:cubicBezTo>
                <a:cubicBezTo>
                  <a:pt x="362417" y="411114"/>
                  <a:pt x="356443" y="415912"/>
                  <a:pt x="356443" y="424309"/>
                </a:cubicBezTo>
                <a:cubicBezTo>
                  <a:pt x="356443" y="432705"/>
                  <a:pt x="361222" y="436303"/>
                  <a:pt x="368390" y="437503"/>
                </a:cubicBezTo>
                <a:cubicBezTo>
                  <a:pt x="383921" y="441101"/>
                  <a:pt x="383921" y="441101"/>
                  <a:pt x="383921" y="441101"/>
                </a:cubicBezTo>
                <a:cubicBezTo>
                  <a:pt x="397063" y="443500"/>
                  <a:pt x="404231" y="450697"/>
                  <a:pt x="404231" y="462692"/>
                </a:cubicBezTo>
                <a:cubicBezTo>
                  <a:pt x="404231" y="478285"/>
                  <a:pt x="393479" y="485482"/>
                  <a:pt x="374364" y="485482"/>
                </a:cubicBezTo>
                <a:cubicBezTo>
                  <a:pt x="356443" y="485482"/>
                  <a:pt x="345691" y="477086"/>
                  <a:pt x="345691" y="461492"/>
                </a:cubicBezTo>
                <a:cubicBezTo>
                  <a:pt x="345691" y="460293"/>
                  <a:pt x="345691" y="460293"/>
                  <a:pt x="345691" y="460293"/>
                </a:cubicBezTo>
                <a:cubicBezTo>
                  <a:pt x="355249" y="460293"/>
                  <a:pt x="355249" y="460293"/>
                  <a:pt x="355249" y="460293"/>
                </a:cubicBezTo>
                <a:cubicBezTo>
                  <a:pt x="355249" y="461492"/>
                  <a:pt x="355249" y="461492"/>
                  <a:pt x="355249" y="461492"/>
                </a:cubicBezTo>
                <a:cubicBezTo>
                  <a:pt x="355249" y="472288"/>
                  <a:pt x="362417" y="477086"/>
                  <a:pt x="374364" y="477086"/>
                </a:cubicBezTo>
                <a:cubicBezTo>
                  <a:pt x="387505" y="477086"/>
                  <a:pt x="393479" y="472288"/>
                  <a:pt x="393479" y="462692"/>
                </a:cubicBezTo>
                <a:cubicBezTo>
                  <a:pt x="393479" y="455495"/>
                  <a:pt x="388700" y="450697"/>
                  <a:pt x="381532" y="449498"/>
                </a:cubicBezTo>
                <a:cubicBezTo>
                  <a:pt x="366001" y="447099"/>
                  <a:pt x="366001" y="447099"/>
                  <a:pt x="366001" y="447099"/>
                </a:cubicBezTo>
                <a:cubicBezTo>
                  <a:pt x="354054" y="444700"/>
                  <a:pt x="346886" y="437503"/>
                  <a:pt x="346886" y="425508"/>
                </a:cubicBezTo>
                <a:cubicBezTo>
                  <a:pt x="346886" y="411114"/>
                  <a:pt x="356443" y="402718"/>
                  <a:pt x="374364" y="402718"/>
                </a:cubicBezTo>
                <a:close/>
                <a:moveTo>
                  <a:pt x="221798" y="402718"/>
                </a:moveTo>
                <a:cubicBezTo>
                  <a:pt x="240897" y="402718"/>
                  <a:pt x="252834" y="413513"/>
                  <a:pt x="252834" y="431505"/>
                </a:cubicBezTo>
                <a:lnTo>
                  <a:pt x="252834" y="456695"/>
                </a:lnTo>
                <a:cubicBezTo>
                  <a:pt x="252834" y="474687"/>
                  <a:pt x="240897" y="485482"/>
                  <a:pt x="221798" y="485482"/>
                </a:cubicBezTo>
                <a:cubicBezTo>
                  <a:pt x="202698" y="485482"/>
                  <a:pt x="190761" y="474687"/>
                  <a:pt x="190761" y="456695"/>
                </a:cubicBezTo>
                <a:cubicBezTo>
                  <a:pt x="190761" y="431505"/>
                  <a:pt x="190761" y="431505"/>
                  <a:pt x="190761" y="431505"/>
                </a:cubicBezTo>
                <a:cubicBezTo>
                  <a:pt x="190761" y="413513"/>
                  <a:pt x="202698" y="402718"/>
                  <a:pt x="221798" y="402718"/>
                </a:cubicBezTo>
                <a:close/>
                <a:moveTo>
                  <a:pt x="1049691" y="43905"/>
                </a:moveTo>
                <a:cubicBezTo>
                  <a:pt x="1049691" y="43905"/>
                  <a:pt x="1049691" y="43905"/>
                  <a:pt x="1049691" y="130202"/>
                </a:cubicBezTo>
                <a:cubicBezTo>
                  <a:pt x="1049691" y="130202"/>
                  <a:pt x="1049691" y="130202"/>
                  <a:pt x="1114157" y="130202"/>
                </a:cubicBezTo>
                <a:cubicBezTo>
                  <a:pt x="1147584" y="130202"/>
                  <a:pt x="1160716" y="115819"/>
                  <a:pt x="1160716" y="87054"/>
                </a:cubicBezTo>
                <a:cubicBezTo>
                  <a:pt x="1160716" y="55891"/>
                  <a:pt x="1147584" y="43905"/>
                  <a:pt x="1114157" y="43905"/>
                </a:cubicBezTo>
                <a:cubicBezTo>
                  <a:pt x="1114157" y="43905"/>
                  <a:pt x="1114157" y="43905"/>
                  <a:pt x="1049691" y="43905"/>
                </a:cubicBezTo>
                <a:close/>
                <a:moveTo>
                  <a:pt x="999729" y="0"/>
                </a:moveTo>
                <a:cubicBezTo>
                  <a:pt x="999729" y="0"/>
                  <a:pt x="999729" y="0"/>
                  <a:pt x="1115234" y="0"/>
                </a:cubicBezTo>
                <a:cubicBezTo>
                  <a:pt x="1173581" y="0"/>
                  <a:pt x="1211686" y="23905"/>
                  <a:pt x="1211686" y="87253"/>
                </a:cubicBezTo>
                <a:cubicBezTo>
                  <a:pt x="1211686" y="145820"/>
                  <a:pt x="1174772" y="173311"/>
                  <a:pt x="1115234" y="173311"/>
                </a:cubicBezTo>
                <a:cubicBezTo>
                  <a:pt x="1115234" y="173311"/>
                  <a:pt x="1115234" y="173311"/>
                  <a:pt x="1049741" y="173311"/>
                </a:cubicBezTo>
                <a:cubicBezTo>
                  <a:pt x="1049741" y="173311"/>
                  <a:pt x="1049741" y="173311"/>
                  <a:pt x="1049741" y="295226"/>
                </a:cubicBezTo>
                <a:cubicBezTo>
                  <a:pt x="1049741" y="295226"/>
                  <a:pt x="1049741" y="295226"/>
                  <a:pt x="999729" y="295226"/>
                </a:cubicBezTo>
                <a:cubicBezTo>
                  <a:pt x="999729" y="295226"/>
                  <a:pt x="999729" y="295226"/>
                  <a:pt x="999729" y="0"/>
                </a:cubicBezTo>
                <a:close/>
                <a:moveTo>
                  <a:pt x="717625" y="0"/>
                </a:moveTo>
                <a:lnTo>
                  <a:pt x="767586" y="0"/>
                </a:lnTo>
                <a:lnTo>
                  <a:pt x="767586" y="129193"/>
                </a:lnTo>
                <a:lnTo>
                  <a:pt x="893751" y="129193"/>
                </a:lnTo>
                <a:lnTo>
                  <a:pt x="893751" y="0"/>
                </a:lnTo>
                <a:lnTo>
                  <a:pt x="943712" y="0"/>
                </a:lnTo>
                <a:lnTo>
                  <a:pt x="943712" y="295226"/>
                </a:lnTo>
                <a:lnTo>
                  <a:pt x="893751" y="295226"/>
                </a:lnTo>
                <a:lnTo>
                  <a:pt x="893751" y="173098"/>
                </a:lnTo>
                <a:lnTo>
                  <a:pt x="767586" y="173098"/>
                </a:lnTo>
                <a:lnTo>
                  <a:pt x="767586" y="295226"/>
                </a:lnTo>
                <a:lnTo>
                  <a:pt x="717625" y="295226"/>
                </a:lnTo>
                <a:close/>
                <a:moveTo>
                  <a:pt x="401708" y="0"/>
                </a:moveTo>
                <a:lnTo>
                  <a:pt x="448137" y="0"/>
                </a:lnTo>
                <a:lnTo>
                  <a:pt x="531405" y="135249"/>
                </a:lnTo>
                <a:lnTo>
                  <a:pt x="616188" y="0"/>
                </a:lnTo>
                <a:lnTo>
                  <a:pt x="661607" y="0"/>
                </a:lnTo>
                <a:lnTo>
                  <a:pt x="661607" y="295226"/>
                </a:lnTo>
                <a:lnTo>
                  <a:pt x="612655" y="295226"/>
                </a:lnTo>
                <a:lnTo>
                  <a:pt x="612655" y="93362"/>
                </a:lnTo>
                <a:lnTo>
                  <a:pt x="531405" y="221041"/>
                </a:lnTo>
                <a:lnTo>
                  <a:pt x="451669" y="93362"/>
                </a:lnTo>
                <a:lnTo>
                  <a:pt x="451669" y="295226"/>
                </a:lnTo>
                <a:lnTo>
                  <a:pt x="401708" y="295226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301" name="SmartArt-Platzhalter 300">
            <a:extLst>
              <a:ext uri="{FF2B5EF4-FFF2-40B4-BE49-F238E27FC236}">
                <a16:creationId xmlns:a16="http://schemas.microsoft.com/office/drawing/2014/main" id="{75DC54DC-758D-42F2-99F9-BAD25F1F1C23}"/>
              </a:ext>
            </a:extLst>
          </p:cNvPr>
          <p:cNvSpPr>
            <a:spLocks noGrp="1"/>
          </p:cNvSpPr>
          <p:nvPr>
            <p:ph type="dgm" sz="quarter" idx="16"/>
          </p:nvPr>
        </p:nvSpPr>
        <p:spPr bwMode="gray">
          <a:xfrm>
            <a:off x="10567565" y="488304"/>
            <a:ext cx="291692" cy="295226"/>
          </a:xfrm>
          <a:custGeom>
            <a:avLst/>
            <a:gdLst>
              <a:gd name="connsiteX0" fmla="*/ 117585 w 291692"/>
              <a:gd name="connsiteY0" fmla="*/ 163510 h 295226"/>
              <a:gd name="connsiteX1" fmla="*/ 166537 w 291692"/>
              <a:gd name="connsiteY1" fmla="*/ 163510 h 295226"/>
              <a:gd name="connsiteX2" fmla="*/ 145341 w 291692"/>
              <a:gd name="connsiteY2" fmla="*/ 295226 h 295226"/>
              <a:gd name="connsiteX3" fmla="*/ 96389 w 291692"/>
              <a:gd name="connsiteY3" fmla="*/ 295226 h 295226"/>
              <a:gd name="connsiteX4" fmla="*/ 242740 w 291692"/>
              <a:gd name="connsiteY4" fmla="*/ 0 h 295226"/>
              <a:gd name="connsiteX5" fmla="*/ 291692 w 291692"/>
              <a:gd name="connsiteY5" fmla="*/ 0 h 295226"/>
              <a:gd name="connsiteX6" fmla="*/ 291692 w 291692"/>
              <a:gd name="connsiteY6" fmla="*/ 295226 h 295226"/>
              <a:gd name="connsiteX7" fmla="*/ 242740 w 291692"/>
              <a:gd name="connsiteY7" fmla="*/ 295226 h 295226"/>
              <a:gd name="connsiteX8" fmla="*/ 145341 w 291692"/>
              <a:gd name="connsiteY8" fmla="*/ 0 h 295226"/>
              <a:gd name="connsiteX9" fmla="*/ 193788 w 291692"/>
              <a:gd name="connsiteY9" fmla="*/ 0 h 295226"/>
              <a:gd name="connsiteX10" fmla="*/ 175116 w 291692"/>
              <a:gd name="connsiteY10" fmla="*/ 114558 h 295226"/>
              <a:gd name="connsiteX11" fmla="*/ 126164 w 291692"/>
              <a:gd name="connsiteY11" fmla="*/ 114558 h 295226"/>
              <a:gd name="connsiteX12" fmla="*/ 0 w 291692"/>
              <a:gd name="connsiteY12" fmla="*/ 0 h 295226"/>
              <a:gd name="connsiteX13" fmla="*/ 48447 w 291692"/>
              <a:gd name="connsiteY13" fmla="*/ 0 h 295226"/>
              <a:gd name="connsiteX14" fmla="*/ 48447 w 291692"/>
              <a:gd name="connsiteY14" fmla="*/ 295226 h 295226"/>
              <a:gd name="connsiteX15" fmla="*/ 0 w 291692"/>
              <a:gd name="connsiteY15" fmla="*/ 295226 h 2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91692" h="295226">
                <a:moveTo>
                  <a:pt x="117585" y="163510"/>
                </a:moveTo>
                <a:lnTo>
                  <a:pt x="166537" y="163510"/>
                </a:lnTo>
                <a:lnTo>
                  <a:pt x="145341" y="295226"/>
                </a:lnTo>
                <a:lnTo>
                  <a:pt x="96389" y="295226"/>
                </a:lnTo>
                <a:close/>
                <a:moveTo>
                  <a:pt x="242740" y="0"/>
                </a:moveTo>
                <a:lnTo>
                  <a:pt x="291692" y="0"/>
                </a:lnTo>
                <a:lnTo>
                  <a:pt x="291692" y="295226"/>
                </a:lnTo>
                <a:lnTo>
                  <a:pt x="242740" y="295226"/>
                </a:lnTo>
                <a:close/>
                <a:moveTo>
                  <a:pt x="145341" y="0"/>
                </a:moveTo>
                <a:lnTo>
                  <a:pt x="193788" y="0"/>
                </a:lnTo>
                <a:lnTo>
                  <a:pt x="175116" y="114558"/>
                </a:lnTo>
                <a:lnTo>
                  <a:pt x="126164" y="114558"/>
                </a:lnTo>
                <a:close/>
                <a:moveTo>
                  <a:pt x="0" y="0"/>
                </a:moveTo>
                <a:lnTo>
                  <a:pt x="48447" y="0"/>
                </a:lnTo>
                <a:lnTo>
                  <a:pt x="48447" y="295226"/>
                </a:lnTo>
                <a:lnTo>
                  <a:pt x="0" y="29522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5B580F0-9DE5-45FC-B91C-03D6E7CFC5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lientitel einfügen</a:t>
            </a:r>
          </a:p>
        </p:txBody>
      </p:sp>
    </p:spTree>
    <p:extLst>
      <p:ext uri="{BB962C8B-B14F-4D97-AF65-F5344CB8AC3E}">
        <p14:creationId xmlns:p14="http://schemas.microsoft.com/office/powerpoint/2010/main" val="992285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ld vollflächig + Overlay link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8FE2F768-31B7-4114-8D4D-032E4ED46F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18" name="SmartArt-Platzhalter 17">
            <a:extLst>
              <a:ext uri="{FF2B5EF4-FFF2-40B4-BE49-F238E27FC236}">
                <a16:creationId xmlns:a16="http://schemas.microsoft.com/office/drawing/2014/main" id="{B2B70539-C8F6-44C1-A5F3-638B7BFCD39B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 bwMode="gray">
          <a:xfrm>
            <a:off x="1" y="0"/>
            <a:ext cx="5951539" cy="6858000"/>
          </a:xfrm>
          <a:custGeom>
            <a:avLst/>
            <a:gdLst>
              <a:gd name="connsiteX0" fmla="*/ 0 w 5951539"/>
              <a:gd name="connsiteY0" fmla="*/ 0 h 6858000"/>
              <a:gd name="connsiteX1" fmla="*/ 3481 w 5951539"/>
              <a:gd name="connsiteY1" fmla="*/ 0 h 6858000"/>
              <a:gd name="connsiteX2" fmla="*/ 534804 w 5951539"/>
              <a:gd name="connsiteY2" fmla="*/ 0 h 6858000"/>
              <a:gd name="connsiteX3" fmla="*/ 818694 w 5951539"/>
              <a:gd name="connsiteY3" fmla="*/ 0 h 6858000"/>
              <a:gd name="connsiteX4" fmla="*/ 1659244 w 5951539"/>
              <a:gd name="connsiteY4" fmla="*/ 0 h 6858000"/>
              <a:gd name="connsiteX5" fmla="*/ 1814039 w 5951539"/>
              <a:gd name="connsiteY5" fmla="*/ 0 h 6858000"/>
              <a:gd name="connsiteX6" fmla="*/ 1817520 w 5951539"/>
              <a:gd name="connsiteY6" fmla="*/ 0 h 6858000"/>
              <a:gd name="connsiteX7" fmla="*/ 2348843 w 5951539"/>
              <a:gd name="connsiteY7" fmla="*/ 0 h 6858000"/>
              <a:gd name="connsiteX8" fmla="*/ 2359603 w 5951539"/>
              <a:gd name="connsiteY8" fmla="*/ 0 h 6858000"/>
              <a:gd name="connsiteX9" fmla="*/ 2474457 w 5951539"/>
              <a:gd name="connsiteY9" fmla="*/ 0 h 6858000"/>
              <a:gd name="connsiteX10" fmla="*/ 2632733 w 5951539"/>
              <a:gd name="connsiteY10" fmla="*/ 0 h 6858000"/>
              <a:gd name="connsiteX11" fmla="*/ 3174815 w 5951539"/>
              <a:gd name="connsiteY11" fmla="*/ 0 h 6858000"/>
              <a:gd name="connsiteX12" fmla="*/ 3473283 w 5951539"/>
              <a:gd name="connsiteY12" fmla="*/ 0 h 6858000"/>
              <a:gd name="connsiteX13" fmla="*/ 4015365 w 5951539"/>
              <a:gd name="connsiteY13" fmla="*/ 0 h 6858000"/>
              <a:gd name="connsiteX14" fmla="*/ 4173642 w 5951539"/>
              <a:gd name="connsiteY14" fmla="*/ 0 h 6858000"/>
              <a:gd name="connsiteX15" fmla="*/ 4288496 w 5951539"/>
              <a:gd name="connsiteY15" fmla="*/ 0 h 6858000"/>
              <a:gd name="connsiteX16" fmla="*/ 4299255 w 5951539"/>
              <a:gd name="connsiteY16" fmla="*/ 0 h 6858000"/>
              <a:gd name="connsiteX17" fmla="*/ 4830578 w 5951539"/>
              <a:gd name="connsiteY17" fmla="*/ 0 h 6858000"/>
              <a:gd name="connsiteX18" fmla="*/ 4988854 w 5951539"/>
              <a:gd name="connsiteY18" fmla="*/ 0 h 6858000"/>
              <a:gd name="connsiteX19" fmla="*/ 5114468 w 5951539"/>
              <a:gd name="connsiteY19" fmla="*/ 0 h 6858000"/>
              <a:gd name="connsiteX20" fmla="*/ 5829404 w 5951539"/>
              <a:gd name="connsiteY20" fmla="*/ 0 h 6858000"/>
              <a:gd name="connsiteX21" fmla="*/ 5951539 w 5951539"/>
              <a:gd name="connsiteY21" fmla="*/ 0 h 6858000"/>
              <a:gd name="connsiteX22" fmla="*/ 4751688 w 5951539"/>
              <a:gd name="connsiteY22" fmla="*/ 6858000 h 6858000"/>
              <a:gd name="connsiteX23" fmla="*/ 4629555 w 5951539"/>
              <a:gd name="connsiteY23" fmla="*/ 6858000 h 6858000"/>
              <a:gd name="connsiteX24" fmla="*/ 4288496 w 5951539"/>
              <a:gd name="connsiteY24" fmla="*/ 6858000 h 6858000"/>
              <a:gd name="connsiteX25" fmla="*/ 3914618 w 5951539"/>
              <a:gd name="connsiteY25" fmla="*/ 6858000 h 6858000"/>
              <a:gd name="connsiteX26" fmla="*/ 3789004 w 5951539"/>
              <a:gd name="connsiteY26" fmla="*/ 6858000 h 6858000"/>
              <a:gd name="connsiteX27" fmla="*/ 3630729 w 5951539"/>
              <a:gd name="connsiteY27" fmla="*/ 6858000 h 6858000"/>
              <a:gd name="connsiteX28" fmla="*/ 3473283 w 5951539"/>
              <a:gd name="connsiteY28" fmla="*/ 6858000 h 6858000"/>
              <a:gd name="connsiteX29" fmla="*/ 3099406 w 5951539"/>
              <a:gd name="connsiteY29" fmla="*/ 6858000 h 6858000"/>
              <a:gd name="connsiteX30" fmla="*/ 2973791 w 5951539"/>
              <a:gd name="connsiteY30" fmla="*/ 6858000 h 6858000"/>
              <a:gd name="connsiteX31" fmla="*/ 2815515 w 5951539"/>
              <a:gd name="connsiteY31" fmla="*/ 6858000 h 6858000"/>
              <a:gd name="connsiteX32" fmla="*/ 2632733 w 5951539"/>
              <a:gd name="connsiteY32" fmla="*/ 6858000 h 6858000"/>
              <a:gd name="connsiteX33" fmla="*/ 2474457 w 5951539"/>
              <a:gd name="connsiteY33" fmla="*/ 6858000 h 6858000"/>
              <a:gd name="connsiteX34" fmla="*/ 2348843 w 5951539"/>
              <a:gd name="connsiteY34" fmla="*/ 6858000 h 6858000"/>
              <a:gd name="connsiteX35" fmla="*/ 1974965 w 5951539"/>
              <a:gd name="connsiteY35" fmla="*/ 6858000 h 6858000"/>
              <a:gd name="connsiteX36" fmla="*/ 1817520 w 5951539"/>
              <a:gd name="connsiteY36" fmla="*/ 6858000 h 6858000"/>
              <a:gd name="connsiteX37" fmla="*/ 1814039 w 5951539"/>
              <a:gd name="connsiteY37" fmla="*/ 6858000 h 6858000"/>
              <a:gd name="connsiteX38" fmla="*/ 1659244 w 5951539"/>
              <a:gd name="connsiteY38" fmla="*/ 6858000 h 6858000"/>
              <a:gd name="connsiteX39" fmla="*/ 1159752 w 5951539"/>
              <a:gd name="connsiteY39" fmla="*/ 6858000 h 6858000"/>
              <a:gd name="connsiteX40" fmla="*/ 818694 w 5951539"/>
              <a:gd name="connsiteY40" fmla="*/ 6858000 h 6858000"/>
              <a:gd name="connsiteX41" fmla="*/ 534804 w 5951539"/>
              <a:gd name="connsiteY41" fmla="*/ 6858000 h 6858000"/>
              <a:gd name="connsiteX42" fmla="*/ 3481 w 5951539"/>
              <a:gd name="connsiteY42" fmla="*/ 6858000 h 6858000"/>
              <a:gd name="connsiteX43" fmla="*/ 0 w 5951539"/>
              <a:gd name="connsiteY4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951539" h="6858000">
                <a:moveTo>
                  <a:pt x="0" y="0"/>
                </a:moveTo>
                <a:lnTo>
                  <a:pt x="3481" y="0"/>
                </a:lnTo>
                <a:lnTo>
                  <a:pt x="534804" y="0"/>
                </a:lnTo>
                <a:lnTo>
                  <a:pt x="818694" y="0"/>
                </a:lnTo>
                <a:lnTo>
                  <a:pt x="1659244" y="0"/>
                </a:lnTo>
                <a:lnTo>
                  <a:pt x="1814039" y="0"/>
                </a:lnTo>
                <a:lnTo>
                  <a:pt x="1817520" y="0"/>
                </a:lnTo>
                <a:lnTo>
                  <a:pt x="2348843" y="0"/>
                </a:lnTo>
                <a:lnTo>
                  <a:pt x="2359603" y="0"/>
                </a:lnTo>
                <a:lnTo>
                  <a:pt x="2474457" y="0"/>
                </a:lnTo>
                <a:lnTo>
                  <a:pt x="2632733" y="0"/>
                </a:lnTo>
                <a:lnTo>
                  <a:pt x="3174815" y="0"/>
                </a:lnTo>
                <a:lnTo>
                  <a:pt x="3473283" y="0"/>
                </a:lnTo>
                <a:lnTo>
                  <a:pt x="4015365" y="0"/>
                </a:lnTo>
                <a:lnTo>
                  <a:pt x="4173642" y="0"/>
                </a:lnTo>
                <a:lnTo>
                  <a:pt x="4288496" y="0"/>
                </a:lnTo>
                <a:lnTo>
                  <a:pt x="4299255" y="0"/>
                </a:lnTo>
                <a:lnTo>
                  <a:pt x="4830578" y="0"/>
                </a:lnTo>
                <a:lnTo>
                  <a:pt x="4988854" y="0"/>
                </a:lnTo>
                <a:lnTo>
                  <a:pt x="5114468" y="0"/>
                </a:lnTo>
                <a:lnTo>
                  <a:pt x="5829404" y="0"/>
                </a:lnTo>
                <a:lnTo>
                  <a:pt x="5951539" y="0"/>
                </a:lnTo>
                <a:lnTo>
                  <a:pt x="4751688" y="6858000"/>
                </a:lnTo>
                <a:lnTo>
                  <a:pt x="4629555" y="6858000"/>
                </a:lnTo>
                <a:lnTo>
                  <a:pt x="4288496" y="6858000"/>
                </a:lnTo>
                <a:lnTo>
                  <a:pt x="3914618" y="6858000"/>
                </a:lnTo>
                <a:lnTo>
                  <a:pt x="3789004" y="6858000"/>
                </a:lnTo>
                <a:lnTo>
                  <a:pt x="3630729" y="6858000"/>
                </a:lnTo>
                <a:lnTo>
                  <a:pt x="3473283" y="6858000"/>
                </a:lnTo>
                <a:lnTo>
                  <a:pt x="3099406" y="6858000"/>
                </a:lnTo>
                <a:lnTo>
                  <a:pt x="2973791" y="6858000"/>
                </a:lnTo>
                <a:lnTo>
                  <a:pt x="2815515" y="6858000"/>
                </a:lnTo>
                <a:lnTo>
                  <a:pt x="2632733" y="6858000"/>
                </a:lnTo>
                <a:lnTo>
                  <a:pt x="2474457" y="6858000"/>
                </a:lnTo>
                <a:lnTo>
                  <a:pt x="2348843" y="6858000"/>
                </a:lnTo>
                <a:lnTo>
                  <a:pt x="1974965" y="6858000"/>
                </a:lnTo>
                <a:lnTo>
                  <a:pt x="1817520" y="6858000"/>
                </a:lnTo>
                <a:lnTo>
                  <a:pt x="1814039" y="6858000"/>
                </a:lnTo>
                <a:lnTo>
                  <a:pt x="1659244" y="6858000"/>
                </a:lnTo>
                <a:lnTo>
                  <a:pt x="1159752" y="6858000"/>
                </a:lnTo>
                <a:lnTo>
                  <a:pt x="818694" y="6858000"/>
                </a:lnTo>
                <a:lnTo>
                  <a:pt x="534804" y="6858000"/>
                </a:lnTo>
                <a:lnTo>
                  <a:pt x="34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21951E-D998-406D-8DA3-CD1E5D0FB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478671-E67A-48FD-8479-DEA18438B78F}" type="datetime1">
              <a:rPr lang="de-DE" smtClean="0"/>
              <a:t>03.03.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55C038-ADBC-4355-B701-93788356F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EEAC42-F94F-4D9A-8CB5-ED46D3DC3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7" name="SmartArt-Platzhalter 296">
            <a:extLst>
              <a:ext uri="{FF2B5EF4-FFF2-40B4-BE49-F238E27FC236}">
                <a16:creationId xmlns:a16="http://schemas.microsoft.com/office/drawing/2014/main" id="{5A909AA4-7409-4340-B373-87656CD8C6E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0566051" y="488304"/>
            <a:ext cx="1213200" cy="485482"/>
          </a:xfrm>
          <a:custGeom>
            <a:avLst/>
            <a:gdLst>
              <a:gd name="connsiteX0" fmla="*/ 1022440 w 1213200"/>
              <a:gd name="connsiteY0" fmla="*/ 413820 h 485482"/>
              <a:gd name="connsiteX1" fmla="*/ 1006795 w 1213200"/>
              <a:gd name="connsiteY1" fmla="*/ 455707 h 485482"/>
              <a:gd name="connsiteX2" fmla="*/ 1038084 w 1213200"/>
              <a:gd name="connsiteY2" fmla="*/ 455707 h 485482"/>
              <a:gd name="connsiteX3" fmla="*/ 35830 w 1213200"/>
              <a:gd name="connsiteY3" fmla="*/ 413820 h 485482"/>
              <a:gd name="connsiteX4" fmla="*/ 20186 w 1213200"/>
              <a:gd name="connsiteY4" fmla="*/ 455707 h 485482"/>
              <a:gd name="connsiteX5" fmla="*/ 51475 w 1213200"/>
              <a:gd name="connsiteY5" fmla="*/ 455707 h 485482"/>
              <a:gd name="connsiteX6" fmla="*/ 942703 w 1213200"/>
              <a:gd name="connsiteY6" fmla="*/ 412306 h 485482"/>
              <a:gd name="connsiteX7" fmla="*/ 942703 w 1213200"/>
              <a:gd name="connsiteY7" fmla="*/ 446118 h 485482"/>
              <a:gd name="connsiteX8" fmla="*/ 962906 w 1213200"/>
              <a:gd name="connsiteY8" fmla="*/ 446118 h 485482"/>
              <a:gd name="connsiteX9" fmla="*/ 979543 w 1213200"/>
              <a:gd name="connsiteY9" fmla="*/ 429212 h 485482"/>
              <a:gd name="connsiteX10" fmla="*/ 962906 w 1213200"/>
              <a:gd name="connsiteY10" fmla="*/ 412306 h 485482"/>
              <a:gd name="connsiteX11" fmla="*/ 942703 w 1213200"/>
              <a:gd name="connsiteY11" fmla="*/ 412306 h 485482"/>
              <a:gd name="connsiteX12" fmla="*/ 281095 w 1213200"/>
              <a:gd name="connsiteY12" fmla="*/ 412306 h 485482"/>
              <a:gd name="connsiteX13" fmla="*/ 281095 w 1213200"/>
              <a:gd name="connsiteY13" fmla="*/ 446118 h 485482"/>
              <a:gd name="connsiteX14" fmla="*/ 302669 w 1213200"/>
              <a:gd name="connsiteY14" fmla="*/ 446118 h 485482"/>
              <a:gd name="connsiteX15" fmla="*/ 319449 w 1213200"/>
              <a:gd name="connsiteY15" fmla="*/ 429212 h 485482"/>
              <a:gd name="connsiteX16" fmla="*/ 302669 w 1213200"/>
              <a:gd name="connsiteY16" fmla="*/ 412306 h 485482"/>
              <a:gd name="connsiteX17" fmla="*/ 281095 w 1213200"/>
              <a:gd name="connsiteY17" fmla="*/ 412306 h 485482"/>
              <a:gd name="connsiteX18" fmla="*/ 132221 w 1213200"/>
              <a:gd name="connsiteY18" fmla="*/ 412306 h 485482"/>
              <a:gd name="connsiteX19" fmla="*/ 132221 w 1213200"/>
              <a:gd name="connsiteY19" fmla="*/ 446118 h 485482"/>
              <a:gd name="connsiteX20" fmla="*/ 152525 w 1213200"/>
              <a:gd name="connsiteY20" fmla="*/ 446118 h 485482"/>
              <a:gd name="connsiteX21" fmla="*/ 168052 w 1213200"/>
              <a:gd name="connsiteY21" fmla="*/ 429212 h 485482"/>
              <a:gd name="connsiteX22" fmla="*/ 152525 w 1213200"/>
              <a:gd name="connsiteY22" fmla="*/ 412306 h 485482"/>
              <a:gd name="connsiteX23" fmla="*/ 132221 w 1213200"/>
              <a:gd name="connsiteY23" fmla="*/ 412306 h 485482"/>
              <a:gd name="connsiteX24" fmla="*/ 793576 w 1213200"/>
              <a:gd name="connsiteY24" fmla="*/ 411297 h 485482"/>
              <a:gd name="connsiteX25" fmla="*/ 772128 w 1213200"/>
              <a:gd name="connsiteY25" fmla="*/ 431575 h 485482"/>
              <a:gd name="connsiteX26" fmla="*/ 772128 w 1213200"/>
              <a:gd name="connsiteY26" fmla="*/ 456625 h 485482"/>
              <a:gd name="connsiteX27" fmla="*/ 793576 w 1213200"/>
              <a:gd name="connsiteY27" fmla="*/ 476903 h 485482"/>
              <a:gd name="connsiteX28" fmla="*/ 815024 w 1213200"/>
              <a:gd name="connsiteY28" fmla="*/ 456625 h 485482"/>
              <a:gd name="connsiteX29" fmla="*/ 815024 w 1213200"/>
              <a:gd name="connsiteY29" fmla="*/ 431575 h 485482"/>
              <a:gd name="connsiteX30" fmla="*/ 793576 w 1213200"/>
              <a:gd name="connsiteY30" fmla="*/ 411297 h 485482"/>
              <a:gd name="connsiteX31" fmla="*/ 221798 w 1213200"/>
              <a:gd name="connsiteY31" fmla="*/ 411297 h 485482"/>
              <a:gd name="connsiteX32" fmla="*/ 200350 w 1213200"/>
              <a:gd name="connsiteY32" fmla="*/ 431575 h 485482"/>
              <a:gd name="connsiteX33" fmla="*/ 200350 w 1213200"/>
              <a:gd name="connsiteY33" fmla="*/ 456625 h 485482"/>
              <a:gd name="connsiteX34" fmla="*/ 221798 w 1213200"/>
              <a:gd name="connsiteY34" fmla="*/ 476903 h 485482"/>
              <a:gd name="connsiteX35" fmla="*/ 243246 w 1213200"/>
              <a:gd name="connsiteY35" fmla="*/ 456625 h 485482"/>
              <a:gd name="connsiteX36" fmla="*/ 243246 w 1213200"/>
              <a:gd name="connsiteY36" fmla="*/ 431575 h 485482"/>
              <a:gd name="connsiteX37" fmla="*/ 221798 w 1213200"/>
              <a:gd name="connsiteY37" fmla="*/ 411297 h 485482"/>
              <a:gd name="connsiteX38" fmla="*/ 1144062 w 1213200"/>
              <a:gd name="connsiteY38" fmla="*/ 404232 h 485482"/>
              <a:gd name="connsiteX39" fmla="*/ 1154660 w 1213200"/>
              <a:gd name="connsiteY39" fmla="*/ 404232 h 485482"/>
              <a:gd name="connsiteX40" fmla="*/ 1178379 w 1213200"/>
              <a:gd name="connsiteY40" fmla="*/ 443596 h 485482"/>
              <a:gd name="connsiteX41" fmla="*/ 1201088 w 1213200"/>
              <a:gd name="connsiteY41" fmla="*/ 404232 h 485482"/>
              <a:gd name="connsiteX42" fmla="*/ 1213200 w 1213200"/>
              <a:gd name="connsiteY42" fmla="*/ 404232 h 485482"/>
              <a:gd name="connsiteX43" fmla="*/ 1183425 w 1213200"/>
              <a:gd name="connsiteY43" fmla="*/ 453184 h 485482"/>
              <a:gd name="connsiteX44" fmla="*/ 1183425 w 1213200"/>
              <a:gd name="connsiteY44" fmla="*/ 484473 h 485482"/>
              <a:gd name="connsiteX45" fmla="*/ 1173837 w 1213200"/>
              <a:gd name="connsiteY45" fmla="*/ 484473 h 485482"/>
              <a:gd name="connsiteX46" fmla="*/ 1173837 w 1213200"/>
              <a:gd name="connsiteY46" fmla="*/ 453184 h 485482"/>
              <a:gd name="connsiteX47" fmla="*/ 1071391 w 1213200"/>
              <a:gd name="connsiteY47" fmla="*/ 404232 h 485482"/>
              <a:gd name="connsiteX48" fmla="*/ 1079466 w 1213200"/>
              <a:gd name="connsiteY48" fmla="*/ 404232 h 485482"/>
              <a:gd name="connsiteX49" fmla="*/ 1121352 w 1213200"/>
              <a:gd name="connsiteY49" fmla="*/ 467315 h 485482"/>
              <a:gd name="connsiteX50" fmla="*/ 1121352 w 1213200"/>
              <a:gd name="connsiteY50" fmla="*/ 404232 h 485482"/>
              <a:gd name="connsiteX51" fmla="*/ 1130941 w 1213200"/>
              <a:gd name="connsiteY51" fmla="*/ 404232 h 485482"/>
              <a:gd name="connsiteX52" fmla="*/ 1130941 w 1213200"/>
              <a:gd name="connsiteY52" fmla="*/ 484473 h 485482"/>
              <a:gd name="connsiteX53" fmla="*/ 1122362 w 1213200"/>
              <a:gd name="connsiteY53" fmla="*/ 484473 h 485482"/>
              <a:gd name="connsiteX54" fmla="*/ 1080980 w 1213200"/>
              <a:gd name="connsiteY54" fmla="*/ 420886 h 485482"/>
              <a:gd name="connsiteX55" fmla="*/ 1080980 w 1213200"/>
              <a:gd name="connsiteY55" fmla="*/ 484473 h 485482"/>
              <a:gd name="connsiteX56" fmla="*/ 1071391 w 1213200"/>
              <a:gd name="connsiteY56" fmla="*/ 484473 h 485482"/>
              <a:gd name="connsiteX57" fmla="*/ 1017392 w 1213200"/>
              <a:gd name="connsiteY57" fmla="*/ 404232 h 485482"/>
              <a:gd name="connsiteX58" fmla="*/ 1029504 w 1213200"/>
              <a:gd name="connsiteY58" fmla="*/ 404232 h 485482"/>
              <a:gd name="connsiteX59" fmla="*/ 1058269 w 1213200"/>
              <a:gd name="connsiteY59" fmla="*/ 484473 h 485482"/>
              <a:gd name="connsiteX60" fmla="*/ 1048681 w 1213200"/>
              <a:gd name="connsiteY60" fmla="*/ 484473 h 485482"/>
              <a:gd name="connsiteX61" fmla="*/ 1040101 w 1213200"/>
              <a:gd name="connsiteY61" fmla="*/ 463782 h 485482"/>
              <a:gd name="connsiteX62" fmla="*/ 1004271 w 1213200"/>
              <a:gd name="connsiteY62" fmla="*/ 463782 h 485482"/>
              <a:gd name="connsiteX63" fmla="*/ 997205 w 1213200"/>
              <a:gd name="connsiteY63" fmla="*/ 484473 h 485482"/>
              <a:gd name="connsiteX64" fmla="*/ 987617 w 1213200"/>
              <a:gd name="connsiteY64" fmla="*/ 484473 h 485482"/>
              <a:gd name="connsiteX65" fmla="*/ 933114 w 1213200"/>
              <a:gd name="connsiteY65" fmla="*/ 404232 h 485482"/>
              <a:gd name="connsiteX66" fmla="*/ 962910 w 1213200"/>
              <a:gd name="connsiteY66" fmla="*/ 404232 h 485482"/>
              <a:gd name="connsiteX67" fmla="*/ 989131 w 1213200"/>
              <a:gd name="connsiteY67" fmla="*/ 429382 h 485482"/>
              <a:gd name="connsiteX68" fmla="*/ 962910 w 1213200"/>
              <a:gd name="connsiteY68" fmla="*/ 454532 h 485482"/>
              <a:gd name="connsiteX69" fmla="*/ 942649 w 1213200"/>
              <a:gd name="connsiteY69" fmla="*/ 454532 h 485482"/>
              <a:gd name="connsiteX70" fmla="*/ 942649 w 1213200"/>
              <a:gd name="connsiteY70" fmla="*/ 484473 h 485482"/>
              <a:gd name="connsiteX71" fmla="*/ 933114 w 1213200"/>
              <a:gd name="connsiteY71" fmla="*/ 484473 h 485482"/>
              <a:gd name="connsiteX72" fmla="*/ 843790 w 1213200"/>
              <a:gd name="connsiteY72" fmla="*/ 404232 h 485482"/>
              <a:gd name="connsiteX73" fmla="*/ 853378 w 1213200"/>
              <a:gd name="connsiteY73" fmla="*/ 404232 h 485482"/>
              <a:gd name="connsiteX74" fmla="*/ 878107 w 1213200"/>
              <a:gd name="connsiteY74" fmla="*/ 452175 h 485482"/>
              <a:gd name="connsiteX75" fmla="*/ 903340 w 1213200"/>
              <a:gd name="connsiteY75" fmla="*/ 404232 h 485482"/>
              <a:gd name="connsiteX76" fmla="*/ 912928 w 1213200"/>
              <a:gd name="connsiteY76" fmla="*/ 404232 h 485482"/>
              <a:gd name="connsiteX77" fmla="*/ 912928 w 1213200"/>
              <a:gd name="connsiteY77" fmla="*/ 484473 h 485482"/>
              <a:gd name="connsiteX78" fmla="*/ 903340 w 1213200"/>
              <a:gd name="connsiteY78" fmla="*/ 484473 h 485482"/>
              <a:gd name="connsiteX79" fmla="*/ 903340 w 1213200"/>
              <a:gd name="connsiteY79" fmla="*/ 423409 h 485482"/>
              <a:gd name="connsiteX80" fmla="*/ 878107 w 1213200"/>
              <a:gd name="connsiteY80" fmla="*/ 469838 h 485482"/>
              <a:gd name="connsiteX81" fmla="*/ 853378 w 1213200"/>
              <a:gd name="connsiteY81" fmla="*/ 423409 h 485482"/>
              <a:gd name="connsiteX82" fmla="*/ 853378 w 1213200"/>
              <a:gd name="connsiteY82" fmla="*/ 484473 h 485482"/>
              <a:gd name="connsiteX83" fmla="*/ 843790 w 1213200"/>
              <a:gd name="connsiteY83" fmla="*/ 484473 h 485482"/>
              <a:gd name="connsiteX84" fmla="*/ 579348 w 1213200"/>
              <a:gd name="connsiteY84" fmla="*/ 404232 h 485482"/>
              <a:gd name="connsiteX85" fmla="*/ 630319 w 1213200"/>
              <a:gd name="connsiteY85" fmla="*/ 404232 h 485482"/>
              <a:gd name="connsiteX86" fmla="*/ 630319 w 1213200"/>
              <a:gd name="connsiteY86" fmla="*/ 412307 h 485482"/>
              <a:gd name="connsiteX87" fmla="*/ 588937 w 1213200"/>
              <a:gd name="connsiteY87" fmla="*/ 412307 h 485482"/>
              <a:gd name="connsiteX88" fmla="*/ 588937 w 1213200"/>
              <a:gd name="connsiteY88" fmla="*/ 440063 h 485482"/>
              <a:gd name="connsiteX89" fmla="*/ 625777 w 1213200"/>
              <a:gd name="connsiteY89" fmla="*/ 440063 h 485482"/>
              <a:gd name="connsiteX90" fmla="*/ 625777 w 1213200"/>
              <a:gd name="connsiteY90" fmla="*/ 448642 h 485482"/>
              <a:gd name="connsiteX91" fmla="*/ 588937 w 1213200"/>
              <a:gd name="connsiteY91" fmla="*/ 448642 h 485482"/>
              <a:gd name="connsiteX92" fmla="*/ 588937 w 1213200"/>
              <a:gd name="connsiteY92" fmla="*/ 475894 h 485482"/>
              <a:gd name="connsiteX93" fmla="*/ 630319 w 1213200"/>
              <a:gd name="connsiteY93" fmla="*/ 475894 h 485482"/>
              <a:gd name="connsiteX94" fmla="*/ 630319 w 1213200"/>
              <a:gd name="connsiteY94" fmla="*/ 484473 h 485482"/>
              <a:gd name="connsiteX95" fmla="*/ 579348 w 1213200"/>
              <a:gd name="connsiteY95" fmla="*/ 484473 h 485482"/>
              <a:gd name="connsiteX96" fmla="*/ 499108 w 1213200"/>
              <a:gd name="connsiteY96" fmla="*/ 404232 h 485482"/>
              <a:gd name="connsiteX97" fmla="*/ 508696 w 1213200"/>
              <a:gd name="connsiteY97" fmla="*/ 404232 h 485482"/>
              <a:gd name="connsiteX98" fmla="*/ 508696 w 1213200"/>
              <a:gd name="connsiteY98" fmla="*/ 440063 h 485482"/>
              <a:gd name="connsiteX99" fmla="*/ 549574 w 1213200"/>
              <a:gd name="connsiteY99" fmla="*/ 440063 h 485482"/>
              <a:gd name="connsiteX100" fmla="*/ 549574 w 1213200"/>
              <a:gd name="connsiteY100" fmla="*/ 404232 h 485482"/>
              <a:gd name="connsiteX101" fmla="*/ 559162 w 1213200"/>
              <a:gd name="connsiteY101" fmla="*/ 404232 h 485482"/>
              <a:gd name="connsiteX102" fmla="*/ 559162 w 1213200"/>
              <a:gd name="connsiteY102" fmla="*/ 484473 h 485482"/>
              <a:gd name="connsiteX103" fmla="*/ 549574 w 1213200"/>
              <a:gd name="connsiteY103" fmla="*/ 484473 h 485482"/>
              <a:gd name="connsiteX104" fmla="*/ 549574 w 1213200"/>
              <a:gd name="connsiteY104" fmla="*/ 448642 h 485482"/>
              <a:gd name="connsiteX105" fmla="*/ 508696 w 1213200"/>
              <a:gd name="connsiteY105" fmla="*/ 448642 h 485482"/>
              <a:gd name="connsiteX106" fmla="*/ 508696 w 1213200"/>
              <a:gd name="connsiteY106" fmla="*/ 484473 h 485482"/>
              <a:gd name="connsiteX107" fmla="*/ 499108 w 1213200"/>
              <a:gd name="connsiteY107" fmla="*/ 484473 h 485482"/>
              <a:gd name="connsiteX108" fmla="*/ 272011 w 1213200"/>
              <a:gd name="connsiteY108" fmla="*/ 404232 h 485482"/>
              <a:gd name="connsiteX109" fmla="*/ 302900 w 1213200"/>
              <a:gd name="connsiteY109" fmla="*/ 404232 h 485482"/>
              <a:gd name="connsiteX110" fmla="*/ 329037 w 1213200"/>
              <a:gd name="connsiteY110" fmla="*/ 429382 h 485482"/>
              <a:gd name="connsiteX111" fmla="*/ 313592 w 1213200"/>
              <a:gd name="connsiteY111" fmla="*/ 452137 h 485482"/>
              <a:gd name="connsiteX112" fmla="*/ 329037 w 1213200"/>
              <a:gd name="connsiteY112" fmla="*/ 484473 h 485482"/>
              <a:gd name="connsiteX113" fmla="*/ 318345 w 1213200"/>
              <a:gd name="connsiteY113" fmla="*/ 484473 h 485482"/>
              <a:gd name="connsiteX114" fmla="*/ 304088 w 1213200"/>
              <a:gd name="connsiteY114" fmla="*/ 454532 h 485482"/>
              <a:gd name="connsiteX115" fmla="*/ 281515 w 1213200"/>
              <a:gd name="connsiteY115" fmla="*/ 454532 h 485482"/>
              <a:gd name="connsiteX116" fmla="*/ 281515 w 1213200"/>
              <a:gd name="connsiteY116" fmla="*/ 484473 h 485482"/>
              <a:gd name="connsiteX117" fmla="*/ 272011 w 1213200"/>
              <a:gd name="connsiteY117" fmla="*/ 484473 h 485482"/>
              <a:gd name="connsiteX118" fmla="*/ 122632 w 1213200"/>
              <a:gd name="connsiteY118" fmla="*/ 404232 h 485482"/>
              <a:gd name="connsiteX119" fmla="*/ 152428 w 1213200"/>
              <a:gd name="connsiteY119" fmla="*/ 404232 h 485482"/>
              <a:gd name="connsiteX120" fmla="*/ 178649 w 1213200"/>
              <a:gd name="connsiteY120" fmla="*/ 429382 h 485482"/>
              <a:gd name="connsiteX121" fmla="*/ 152428 w 1213200"/>
              <a:gd name="connsiteY121" fmla="*/ 454532 h 485482"/>
              <a:gd name="connsiteX122" fmla="*/ 132167 w 1213200"/>
              <a:gd name="connsiteY122" fmla="*/ 454532 h 485482"/>
              <a:gd name="connsiteX123" fmla="*/ 132167 w 1213200"/>
              <a:gd name="connsiteY123" fmla="*/ 484473 h 485482"/>
              <a:gd name="connsiteX124" fmla="*/ 122632 w 1213200"/>
              <a:gd name="connsiteY124" fmla="*/ 484473 h 485482"/>
              <a:gd name="connsiteX125" fmla="*/ 29775 w 1213200"/>
              <a:gd name="connsiteY125" fmla="*/ 404232 h 485482"/>
              <a:gd name="connsiteX126" fmla="*/ 41887 w 1213200"/>
              <a:gd name="connsiteY126" fmla="*/ 404232 h 485482"/>
              <a:gd name="connsiteX127" fmla="*/ 71662 w 1213200"/>
              <a:gd name="connsiteY127" fmla="*/ 484473 h 485482"/>
              <a:gd name="connsiteX128" fmla="*/ 61064 w 1213200"/>
              <a:gd name="connsiteY128" fmla="*/ 484473 h 485482"/>
              <a:gd name="connsiteX129" fmla="*/ 53999 w 1213200"/>
              <a:gd name="connsiteY129" fmla="*/ 463782 h 485482"/>
              <a:gd name="connsiteX130" fmla="*/ 18168 w 1213200"/>
              <a:gd name="connsiteY130" fmla="*/ 463782 h 485482"/>
              <a:gd name="connsiteX131" fmla="*/ 9589 w 1213200"/>
              <a:gd name="connsiteY131" fmla="*/ 484473 h 485482"/>
              <a:gd name="connsiteX132" fmla="*/ 0 w 1213200"/>
              <a:gd name="connsiteY132" fmla="*/ 484473 h 485482"/>
              <a:gd name="connsiteX133" fmla="*/ 793576 w 1213200"/>
              <a:gd name="connsiteY133" fmla="*/ 402718 h 485482"/>
              <a:gd name="connsiteX134" fmla="*/ 824613 w 1213200"/>
              <a:gd name="connsiteY134" fmla="*/ 431505 h 485482"/>
              <a:gd name="connsiteX135" fmla="*/ 824613 w 1213200"/>
              <a:gd name="connsiteY135" fmla="*/ 456695 h 485482"/>
              <a:gd name="connsiteX136" fmla="*/ 793576 w 1213200"/>
              <a:gd name="connsiteY136" fmla="*/ 485482 h 485482"/>
              <a:gd name="connsiteX137" fmla="*/ 762540 w 1213200"/>
              <a:gd name="connsiteY137" fmla="*/ 456695 h 485482"/>
              <a:gd name="connsiteX138" fmla="*/ 762540 w 1213200"/>
              <a:gd name="connsiteY138" fmla="*/ 431505 h 485482"/>
              <a:gd name="connsiteX139" fmla="*/ 793576 w 1213200"/>
              <a:gd name="connsiteY139" fmla="*/ 402718 h 485482"/>
              <a:gd name="connsiteX140" fmla="*/ 718476 w 1213200"/>
              <a:gd name="connsiteY140" fmla="*/ 402718 h 485482"/>
              <a:gd name="connsiteX141" fmla="*/ 748409 w 1213200"/>
              <a:gd name="connsiteY141" fmla="*/ 429107 h 485482"/>
              <a:gd name="connsiteX142" fmla="*/ 748409 w 1213200"/>
              <a:gd name="connsiteY142" fmla="*/ 430306 h 485482"/>
              <a:gd name="connsiteX143" fmla="*/ 738830 w 1213200"/>
              <a:gd name="connsiteY143" fmla="*/ 430306 h 485482"/>
              <a:gd name="connsiteX144" fmla="*/ 738830 w 1213200"/>
              <a:gd name="connsiteY144" fmla="*/ 429107 h 485482"/>
              <a:gd name="connsiteX145" fmla="*/ 718476 w 1213200"/>
              <a:gd name="connsiteY145" fmla="*/ 411114 h 485482"/>
              <a:gd name="connsiteX146" fmla="*/ 696924 w 1213200"/>
              <a:gd name="connsiteY146" fmla="*/ 431505 h 485482"/>
              <a:gd name="connsiteX147" fmla="*/ 696924 w 1213200"/>
              <a:gd name="connsiteY147" fmla="*/ 456695 h 485482"/>
              <a:gd name="connsiteX148" fmla="*/ 718476 w 1213200"/>
              <a:gd name="connsiteY148" fmla="*/ 477086 h 485482"/>
              <a:gd name="connsiteX149" fmla="*/ 738830 w 1213200"/>
              <a:gd name="connsiteY149" fmla="*/ 459093 h 485482"/>
              <a:gd name="connsiteX150" fmla="*/ 748409 w 1213200"/>
              <a:gd name="connsiteY150" fmla="*/ 459093 h 485482"/>
              <a:gd name="connsiteX151" fmla="*/ 718476 w 1213200"/>
              <a:gd name="connsiteY151" fmla="*/ 485482 h 485482"/>
              <a:gd name="connsiteX152" fmla="*/ 687345 w 1213200"/>
              <a:gd name="connsiteY152" fmla="*/ 456695 h 485482"/>
              <a:gd name="connsiteX153" fmla="*/ 687345 w 1213200"/>
              <a:gd name="connsiteY153" fmla="*/ 431505 h 485482"/>
              <a:gd name="connsiteX154" fmla="*/ 718476 w 1213200"/>
              <a:gd name="connsiteY154" fmla="*/ 402718 h 485482"/>
              <a:gd name="connsiteX155" fmla="*/ 450572 w 1213200"/>
              <a:gd name="connsiteY155" fmla="*/ 402718 h 485482"/>
              <a:gd name="connsiteX156" fmla="*/ 481445 w 1213200"/>
              <a:gd name="connsiteY156" fmla="*/ 429107 h 485482"/>
              <a:gd name="connsiteX157" fmla="*/ 481445 w 1213200"/>
              <a:gd name="connsiteY157" fmla="*/ 430306 h 485482"/>
              <a:gd name="connsiteX158" fmla="*/ 471946 w 1213200"/>
              <a:gd name="connsiteY158" fmla="*/ 430306 h 485482"/>
              <a:gd name="connsiteX159" fmla="*/ 471946 w 1213200"/>
              <a:gd name="connsiteY159" fmla="*/ 429107 h 485482"/>
              <a:gd name="connsiteX160" fmla="*/ 450572 w 1213200"/>
              <a:gd name="connsiteY160" fmla="*/ 411114 h 485482"/>
              <a:gd name="connsiteX161" fmla="*/ 430385 w 1213200"/>
              <a:gd name="connsiteY161" fmla="*/ 431505 h 485482"/>
              <a:gd name="connsiteX162" fmla="*/ 430385 w 1213200"/>
              <a:gd name="connsiteY162" fmla="*/ 456695 h 485482"/>
              <a:gd name="connsiteX163" fmla="*/ 450572 w 1213200"/>
              <a:gd name="connsiteY163" fmla="*/ 477086 h 485482"/>
              <a:gd name="connsiteX164" fmla="*/ 471946 w 1213200"/>
              <a:gd name="connsiteY164" fmla="*/ 459093 h 485482"/>
              <a:gd name="connsiteX165" fmla="*/ 481445 w 1213200"/>
              <a:gd name="connsiteY165" fmla="*/ 459093 h 485482"/>
              <a:gd name="connsiteX166" fmla="*/ 450572 w 1213200"/>
              <a:gd name="connsiteY166" fmla="*/ 485482 h 485482"/>
              <a:gd name="connsiteX167" fmla="*/ 420886 w 1213200"/>
              <a:gd name="connsiteY167" fmla="*/ 456695 h 485482"/>
              <a:gd name="connsiteX168" fmla="*/ 420886 w 1213200"/>
              <a:gd name="connsiteY168" fmla="*/ 431505 h 485482"/>
              <a:gd name="connsiteX169" fmla="*/ 450572 w 1213200"/>
              <a:gd name="connsiteY169" fmla="*/ 402718 h 485482"/>
              <a:gd name="connsiteX170" fmla="*/ 374364 w 1213200"/>
              <a:gd name="connsiteY170" fmla="*/ 402718 h 485482"/>
              <a:gd name="connsiteX171" fmla="*/ 403036 w 1213200"/>
              <a:gd name="connsiteY171" fmla="*/ 426708 h 485482"/>
              <a:gd name="connsiteX172" fmla="*/ 403036 w 1213200"/>
              <a:gd name="connsiteY172" fmla="*/ 427907 h 485482"/>
              <a:gd name="connsiteX173" fmla="*/ 393479 w 1213200"/>
              <a:gd name="connsiteY173" fmla="*/ 427907 h 485482"/>
              <a:gd name="connsiteX174" fmla="*/ 393479 w 1213200"/>
              <a:gd name="connsiteY174" fmla="*/ 426708 h 485482"/>
              <a:gd name="connsiteX175" fmla="*/ 374364 w 1213200"/>
              <a:gd name="connsiteY175" fmla="*/ 411114 h 485482"/>
              <a:gd name="connsiteX176" fmla="*/ 356443 w 1213200"/>
              <a:gd name="connsiteY176" fmla="*/ 424309 h 485482"/>
              <a:gd name="connsiteX177" fmla="*/ 368390 w 1213200"/>
              <a:gd name="connsiteY177" fmla="*/ 437503 h 485482"/>
              <a:gd name="connsiteX178" fmla="*/ 383921 w 1213200"/>
              <a:gd name="connsiteY178" fmla="*/ 441101 h 485482"/>
              <a:gd name="connsiteX179" fmla="*/ 404231 w 1213200"/>
              <a:gd name="connsiteY179" fmla="*/ 462692 h 485482"/>
              <a:gd name="connsiteX180" fmla="*/ 374364 w 1213200"/>
              <a:gd name="connsiteY180" fmla="*/ 485482 h 485482"/>
              <a:gd name="connsiteX181" fmla="*/ 345691 w 1213200"/>
              <a:gd name="connsiteY181" fmla="*/ 461492 h 485482"/>
              <a:gd name="connsiteX182" fmla="*/ 345691 w 1213200"/>
              <a:gd name="connsiteY182" fmla="*/ 460293 h 485482"/>
              <a:gd name="connsiteX183" fmla="*/ 355249 w 1213200"/>
              <a:gd name="connsiteY183" fmla="*/ 460293 h 485482"/>
              <a:gd name="connsiteX184" fmla="*/ 355249 w 1213200"/>
              <a:gd name="connsiteY184" fmla="*/ 461492 h 485482"/>
              <a:gd name="connsiteX185" fmla="*/ 374364 w 1213200"/>
              <a:gd name="connsiteY185" fmla="*/ 477086 h 485482"/>
              <a:gd name="connsiteX186" fmla="*/ 393479 w 1213200"/>
              <a:gd name="connsiteY186" fmla="*/ 462692 h 485482"/>
              <a:gd name="connsiteX187" fmla="*/ 381532 w 1213200"/>
              <a:gd name="connsiteY187" fmla="*/ 449498 h 485482"/>
              <a:gd name="connsiteX188" fmla="*/ 366001 w 1213200"/>
              <a:gd name="connsiteY188" fmla="*/ 447099 h 485482"/>
              <a:gd name="connsiteX189" fmla="*/ 346886 w 1213200"/>
              <a:gd name="connsiteY189" fmla="*/ 425508 h 485482"/>
              <a:gd name="connsiteX190" fmla="*/ 374364 w 1213200"/>
              <a:gd name="connsiteY190" fmla="*/ 402718 h 485482"/>
              <a:gd name="connsiteX191" fmla="*/ 221798 w 1213200"/>
              <a:gd name="connsiteY191" fmla="*/ 402718 h 485482"/>
              <a:gd name="connsiteX192" fmla="*/ 252834 w 1213200"/>
              <a:gd name="connsiteY192" fmla="*/ 431505 h 485482"/>
              <a:gd name="connsiteX193" fmla="*/ 252834 w 1213200"/>
              <a:gd name="connsiteY193" fmla="*/ 456695 h 485482"/>
              <a:gd name="connsiteX194" fmla="*/ 221798 w 1213200"/>
              <a:gd name="connsiteY194" fmla="*/ 485482 h 485482"/>
              <a:gd name="connsiteX195" fmla="*/ 190761 w 1213200"/>
              <a:gd name="connsiteY195" fmla="*/ 456695 h 485482"/>
              <a:gd name="connsiteX196" fmla="*/ 190761 w 1213200"/>
              <a:gd name="connsiteY196" fmla="*/ 431505 h 485482"/>
              <a:gd name="connsiteX197" fmla="*/ 221798 w 1213200"/>
              <a:gd name="connsiteY197" fmla="*/ 402718 h 485482"/>
              <a:gd name="connsiteX198" fmla="*/ 1049691 w 1213200"/>
              <a:gd name="connsiteY198" fmla="*/ 43905 h 485482"/>
              <a:gd name="connsiteX199" fmla="*/ 1049691 w 1213200"/>
              <a:gd name="connsiteY199" fmla="*/ 130202 h 485482"/>
              <a:gd name="connsiteX200" fmla="*/ 1114157 w 1213200"/>
              <a:gd name="connsiteY200" fmla="*/ 130202 h 485482"/>
              <a:gd name="connsiteX201" fmla="*/ 1160716 w 1213200"/>
              <a:gd name="connsiteY201" fmla="*/ 87054 h 485482"/>
              <a:gd name="connsiteX202" fmla="*/ 1114157 w 1213200"/>
              <a:gd name="connsiteY202" fmla="*/ 43905 h 485482"/>
              <a:gd name="connsiteX203" fmla="*/ 1049691 w 1213200"/>
              <a:gd name="connsiteY203" fmla="*/ 43905 h 485482"/>
              <a:gd name="connsiteX204" fmla="*/ 999729 w 1213200"/>
              <a:gd name="connsiteY204" fmla="*/ 0 h 485482"/>
              <a:gd name="connsiteX205" fmla="*/ 1115234 w 1213200"/>
              <a:gd name="connsiteY205" fmla="*/ 0 h 485482"/>
              <a:gd name="connsiteX206" fmla="*/ 1211686 w 1213200"/>
              <a:gd name="connsiteY206" fmla="*/ 87253 h 485482"/>
              <a:gd name="connsiteX207" fmla="*/ 1115234 w 1213200"/>
              <a:gd name="connsiteY207" fmla="*/ 173311 h 485482"/>
              <a:gd name="connsiteX208" fmla="*/ 1049741 w 1213200"/>
              <a:gd name="connsiteY208" fmla="*/ 173311 h 485482"/>
              <a:gd name="connsiteX209" fmla="*/ 1049741 w 1213200"/>
              <a:gd name="connsiteY209" fmla="*/ 295226 h 485482"/>
              <a:gd name="connsiteX210" fmla="*/ 999729 w 1213200"/>
              <a:gd name="connsiteY210" fmla="*/ 295226 h 485482"/>
              <a:gd name="connsiteX211" fmla="*/ 999729 w 1213200"/>
              <a:gd name="connsiteY211" fmla="*/ 0 h 485482"/>
              <a:gd name="connsiteX212" fmla="*/ 717625 w 1213200"/>
              <a:gd name="connsiteY212" fmla="*/ 0 h 485482"/>
              <a:gd name="connsiteX213" fmla="*/ 767586 w 1213200"/>
              <a:gd name="connsiteY213" fmla="*/ 0 h 485482"/>
              <a:gd name="connsiteX214" fmla="*/ 767586 w 1213200"/>
              <a:gd name="connsiteY214" fmla="*/ 129193 h 485482"/>
              <a:gd name="connsiteX215" fmla="*/ 893751 w 1213200"/>
              <a:gd name="connsiteY215" fmla="*/ 129193 h 485482"/>
              <a:gd name="connsiteX216" fmla="*/ 893751 w 1213200"/>
              <a:gd name="connsiteY216" fmla="*/ 0 h 485482"/>
              <a:gd name="connsiteX217" fmla="*/ 943712 w 1213200"/>
              <a:gd name="connsiteY217" fmla="*/ 0 h 485482"/>
              <a:gd name="connsiteX218" fmla="*/ 943712 w 1213200"/>
              <a:gd name="connsiteY218" fmla="*/ 295226 h 485482"/>
              <a:gd name="connsiteX219" fmla="*/ 893751 w 1213200"/>
              <a:gd name="connsiteY219" fmla="*/ 295226 h 485482"/>
              <a:gd name="connsiteX220" fmla="*/ 893751 w 1213200"/>
              <a:gd name="connsiteY220" fmla="*/ 173098 h 485482"/>
              <a:gd name="connsiteX221" fmla="*/ 767586 w 1213200"/>
              <a:gd name="connsiteY221" fmla="*/ 173098 h 485482"/>
              <a:gd name="connsiteX222" fmla="*/ 767586 w 1213200"/>
              <a:gd name="connsiteY222" fmla="*/ 295226 h 485482"/>
              <a:gd name="connsiteX223" fmla="*/ 717625 w 1213200"/>
              <a:gd name="connsiteY223" fmla="*/ 295226 h 485482"/>
              <a:gd name="connsiteX224" fmla="*/ 401708 w 1213200"/>
              <a:gd name="connsiteY224" fmla="*/ 0 h 485482"/>
              <a:gd name="connsiteX225" fmla="*/ 448137 w 1213200"/>
              <a:gd name="connsiteY225" fmla="*/ 0 h 485482"/>
              <a:gd name="connsiteX226" fmla="*/ 531405 w 1213200"/>
              <a:gd name="connsiteY226" fmla="*/ 135249 h 485482"/>
              <a:gd name="connsiteX227" fmla="*/ 616188 w 1213200"/>
              <a:gd name="connsiteY227" fmla="*/ 0 h 485482"/>
              <a:gd name="connsiteX228" fmla="*/ 661607 w 1213200"/>
              <a:gd name="connsiteY228" fmla="*/ 0 h 485482"/>
              <a:gd name="connsiteX229" fmla="*/ 661607 w 1213200"/>
              <a:gd name="connsiteY229" fmla="*/ 295226 h 485482"/>
              <a:gd name="connsiteX230" fmla="*/ 612655 w 1213200"/>
              <a:gd name="connsiteY230" fmla="*/ 295226 h 485482"/>
              <a:gd name="connsiteX231" fmla="*/ 612655 w 1213200"/>
              <a:gd name="connsiteY231" fmla="*/ 93362 h 485482"/>
              <a:gd name="connsiteX232" fmla="*/ 531405 w 1213200"/>
              <a:gd name="connsiteY232" fmla="*/ 221041 h 485482"/>
              <a:gd name="connsiteX233" fmla="*/ 451669 w 1213200"/>
              <a:gd name="connsiteY233" fmla="*/ 93362 h 485482"/>
              <a:gd name="connsiteX234" fmla="*/ 451669 w 1213200"/>
              <a:gd name="connsiteY234" fmla="*/ 295226 h 485482"/>
              <a:gd name="connsiteX235" fmla="*/ 401708 w 1213200"/>
              <a:gd name="connsiteY235" fmla="*/ 295226 h 485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1213200" h="485482">
                <a:moveTo>
                  <a:pt x="1022440" y="413820"/>
                </a:moveTo>
                <a:lnTo>
                  <a:pt x="1006795" y="455707"/>
                </a:lnTo>
                <a:lnTo>
                  <a:pt x="1038084" y="455707"/>
                </a:lnTo>
                <a:close/>
                <a:moveTo>
                  <a:pt x="35830" y="413820"/>
                </a:moveTo>
                <a:lnTo>
                  <a:pt x="20186" y="455707"/>
                </a:lnTo>
                <a:lnTo>
                  <a:pt x="51475" y="455707"/>
                </a:lnTo>
                <a:close/>
                <a:moveTo>
                  <a:pt x="942703" y="412306"/>
                </a:moveTo>
                <a:lnTo>
                  <a:pt x="942703" y="446118"/>
                </a:lnTo>
                <a:cubicBezTo>
                  <a:pt x="962906" y="446118"/>
                  <a:pt x="962906" y="446118"/>
                  <a:pt x="962906" y="446118"/>
                </a:cubicBezTo>
                <a:cubicBezTo>
                  <a:pt x="972413" y="446118"/>
                  <a:pt x="979543" y="441288"/>
                  <a:pt x="979543" y="429212"/>
                </a:cubicBezTo>
                <a:cubicBezTo>
                  <a:pt x="979543" y="417136"/>
                  <a:pt x="972413" y="412306"/>
                  <a:pt x="962906" y="412306"/>
                </a:cubicBezTo>
                <a:cubicBezTo>
                  <a:pt x="942703" y="412306"/>
                  <a:pt x="942703" y="412306"/>
                  <a:pt x="942703" y="412306"/>
                </a:cubicBezTo>
                <a:close/>
                <a:moveTo>
                  <a:pt x="281095" y="412306"/>
                </a:moveTo>
                <a:lnTo>
                  <a:pt x="281095" y="446118"/>
                </a:lnTo>
                <a:cubicBezTo>
                  <a:pt x="302669" y="446118"/>
                  <a:pt x="302669" y="446118"/>
                  <a:pt x="302669" y="446118"/>
                </a:cubicBezTo>
                <a:cubicBezTo>
                  <a:pt x="312258" y="446118"/>
                  <a:pt x="319449" y="441288"/>
                  <a:pt x="319449" y="429212"/>
                </a:cubicBezTo>
                <a:cubicBezTo>
                  <a:pt x="319449" y="417136"/>
                  <a:pt x="312258" y="412306"/>
                  <a:pt x="302669" y="412306"/>
                </a:cubicBezTo>
                <a:cubicBezTo>
                  <a:pt x="281095" y="412306"/>
                  <a:pt x="281095" y="412306"/>
                  <a:pt x="281095" y="412306"/>
                </a:cubicBezTo>
                <a:close/>
                <a:moveTo>
                  <a:pt x="132221" y="412306"/>
                </a:moveTo>
                <a:lnTo>
                  <a:pt x="132221" y="446118"/>
                </a:lnTo>
                <a:cubicBezTo>
                  <a:pt x="152525" y="446118"/>
                  <a:pt x="152525" y="446118"/>
                  <a:pt x="152525" y="446118"/>
                </a:cubicBezTo>
                <a:cubicBezTo>
                  <a:pt x="162080" y="446118"/>
                  <a:pt x="168052" y="441288"/>
                  <a:pt x="168052" y="429212"/>
                </a:cubicBezTo>
                <a:cubicBezTo>
                  <a:pt x="168052" y="417136"/>
                  <a:pt x="162080" y="412306"/>
                  <a:pt x="152525" y="412306"/>
                </a:cubicBezTo>
                <a:cubicBezTo>
                  <a:pt x="132221" y="412306"/>
                  <a:pt x="132221" y="412306"/>
                  <a:pt x="132221" y="412306"/>
                </a:cubicBezTo>
                <a:close/>
                <a:moveTo>
                  <a:pt x="793576" y="411297"/>
                </a:moveTo>
                <a:cubicBezTo>
                  <a:pt x="780469" y="411297"/>
                  <a:pt x="772128" y="418454"/>
                  <a:pt x="772128" y="431575"/>
                </a:cubicBezTo>
                <a:cubicBezTo>
                  <a:pt x="772128" y="456625"/>
                  <a:pt x="772128" y="456625"/>
                  <a:pt x="772128" y="456625"/>
                </a:cubicBezTo>
                <a:cubicBezTo>
                  <a:pt x="772128" y="469746"/>
                  <a:pt x="780469" y="476903"/>
                  <a:pt x="793576" y="476903"/>
                </a:cubicBezTo>
                <a:cubicBezTo>
                  <a:pt x="807875" y="476903"/>
                  <a:pt x="815024" y="469746"/>
                  <a:pt x="815024" y="456625"/>
                </a:cubicBezTo>
                <a:lnTo>
                  <a:pt x="815024" y="431575"/>
                </a:lnTo>
                <a:cubicBezTo>
                  <a:pt x="815024" y="418454"/>
                  <a:pt x="807875" y="411297"/>
                  <a:pt x="793576" y="411297"/>
                </a:cubicBezTo>
                <a:close/>
                <a:moveTo>
                  <a:pt x="221798" y="411297"/>
                </a:moveTo>
                <a:cubicBezTo>
                  <a:pt x="207499" y="411297"/>
                  <a:pt x="200350" y="418454"/>
                  <a:pt x="200350" y="431575"/>
                </a:cubicBezTo>
                <a:cubicBezTo>
                  <a:pt x="200350" y="456625"/>
                  <a:pt x="200350" y="456625"/>
                  <a:pt x="200350" y="456625"/>
                </a:cubicBezTo>
                <a:cubicBezTo>
                  <a:pt x="200350" y="469746"/>
                  <a:pt x="207499" y="476903"/>
                  <a:pt x="221798" y="476903"/>
                </a:cubicBezTo>
                <a:cubicBezTo>
                  <a:pt x="234905" y="476903"/>
                  <a:pt x="243246" y="469746"/>
                  <a:pt x="243246" y="456625"/>
                </a:cubicBezTo>
                <a:lnTo>
                  <a:pt x="243246" y="431575"/>
                </a:lnTo>
                <a:cubicBezTo>
                  <a:pt x="243246" y="418454"/>
                  <a:pt x="234905" y="411297"/>
                  <a:pt x="221798" y="411297"/>
                </a:cubicBezTo>
                <a:close/>
                <a:moveTo>
                  <a:pt x="1144062" y="404232"/>
                </a:moveTo>
                <a:lnTo>
                  <a:pt x="1154660" y="404232"/>
                </a:lnTo>
                <a:lnTo>
                  <a:pt x="1178379" y="443596"/>
                </a:lnTo>
                <a:lnTo>
                  <a:pt x="1201088" y="404232"/>
                </a:lnTo>
                <a:lnTo>
                  <a:pt x="1213200" y="404232"/>
                </a:lnTo>
                <a:lnTo>
                  <a:pt x="1183425" y="453184"/>
                </a:lnTo>
                <a:lnTo>
                  <a:pt x="1183425" y="484473"/>
                </a:lnTo>
                <a:lnTo>
                  <a:pt x="1173837" y="484473"/>
                </a:lnTo>
                <a:lnTo>
                  <a:pt x="1173837" y="453184"/>
                </a:lnTo>
                <a:close/>
                <a:moveTo>
                  <a:pt x="1071391" y="404232"/>
                </a:moveTo>
                <a:lnTo>
                  <a:pt x="1079466" y="404232"/>
                </a:lnTo>
                <a:lnTo>
                  <a:pt x="1121352" y="467315"/>
                </a:lnTo>
                <a:lnTo>
                  <a:pt x="1121352" y="404232"/>
                </a:lnTo>
                <a:lnTo>
                  <a:pt x="1130941" y="404232"/>
                </a:lnTo>
                <a:lnTo>
                  <a:pt x="1130941" y="484473"/>
                </a:lnTo>
                <a:lnTo>
                  <a:pt x="1122362" y="484473"/>
                </a:lnTo>
                <a:lnTo>
                  <a:pt x="1080980" y="420886"/>
                </a:lnTo>
                <a:lnTo>
                  <a:pt x="1080980" y="484473"/>
                </a:lnTo>
                <a:lnTo>
                  <a:pt x="1071391" y="484473"/>
                </a:lnTo>
                <a:close/>
                <a:moveTo>
                  <a:pt x="1017392" y="404232"/>
                </a:moveTo>
                <a:lnTo>
                  <a:pt x="1029504" y="404232"/>
                </a:lnTo>
                <a:lnTo>
                  <a:pt x="1058269" y="484473"/>
                </a:lnTo>
                <a:lnTo>
                  <a:pt x="1048681" y="484473"/>
                </a:lnTo>
                <a:lnTo>
                  <a:pt x="1040101" y="463782"/>
                </a:lnTo>
                <a:lnTo>
                  <a:pt x="1004271" y="463782"/>
                </a:lnTo>
                <a:lnTo>
                  <a:pt x="997205" y="484473"/>
                </a:lnTo>
                <a:lnTo>
                  <a:pt x="987617" y="484473"/>
                </a:lnTo>
                <a:close/>
                <a:moveTo>
                  <a:pt x="933114" y="404232"/>
                </a:moveTo>
                <a:cubicBezTo>
                  <a:pt x="962910" y="404232"/>
                  <a:pt x="962910" y="404232"/>
                  <a:pt x="962910" y="404232"/>
                </a:cubicBezTo>
                <a:cubicBezTo>
                  <a:pt x="978404" y="404232"/>
                  <a:pt x="989131" y="411418"/>
                  <a:pt x="989131" y="429382"/>
                </a:cubicBezTo>
                <a:cubicBezTo>
                  <a:pt x="989131" y="446149"/>
                  <a:pt x="978404" y="454532"/>
                  <a:pt x="962910" y="454532"/>
                </a:cubicBezTo>
                <a:cubicBezTo>
                  <a:pt x="942649" y="454532"/>
                  <a:pt x="942649" y="454532"/>
                  <a:pt x="942649" y="454532"/>
                </a:cubicBezTo>
                <a:cubicBezTo>
                  <a:pt x="942649" y="484473"/>
                  <a:pt x="942649" y="484473"/>
                  <a:pt x="942649" y="484473"/>
                </a:cubicBezTo>
                <a:cubicBezTo>
                  <a:pt x="933114" y="484473"/>
                  <a:pt x="933114" y="484473"/>
                  <a:pt x="933114" y="484473"/>
                </a:cubicBezTo>
                <a:close/>
                <a:moveTo>
                  <a:pt x="843790" y="404232"/>
                </a:moveTo>
                <a:lnTo>
                  <a:pt x="853378" y="404232"/>
                </a:lnTo>
                <a:lnTo>
                  <a:pt x="878107" y="452175"/>
                </a:lnTo>
                <a:lnTo>
                  <a:pt x="903340" y="404232"/>
                </a:lnTo>
                <a:lnTo>
                  <a:pt x="912928" y="404232"/>
                </a:lnTo>
                <a:lnTo>
                  <a:pt x="912928" y="484473"/>
                </a:lnTo>
                <a:lnTo>
                  <a:pt x="903340" y="484473"/>
                </a:lnTo>
                <a:lnTo>
                  <a:pt x="903340" y="423409"/>
                </a:lnTo>
                <a:lnTo>
                  <a:pt x="878107" y="469838"/>
                </a:lnTo>
                <a:lnTo>
                  <a:pt x="853378" y="423409"/>
                </a:lnTo>
                <a:lnTo>
                  <a:pt x="853378" y="484473"/>
                </a:lnTo>
                <a:lnTo>
                  <a:pt x="843790" y="484473"/>
                </a:lnTo>
                <a:close/>
                <a:moveTo>
                  <a:pt x="579348" y="404232"/>
                </a:moveTo>
                <a:lnTo>
                  <a:pt x="630319" y="404232"/>
                </a:lnTo>
                <a:lnTo>
                  <a:pt x="630319" y="412307"/>
                </a:lnTo>
                <a:lnTo>
                  <a:pt x="588937" y="412307"/>
                </a:lnTo>
                <a:lnTo>
                  <a:pt x="588937" y="440063"/>
                </a:lnTo>
                <a:lnTo>
                  <a:pt x="625777" y="440063"/>
                </a:lnTo>
                <a:lnTo>
                  <a:pt x="625777" y="448642"/>
                </a:lnTo>
                <a:lnTo>
                  <a:pt x="588937" y="448642"/>
                </a:lnTo>
                <a:lnTo>
                  <a:pt x="588937" y="475894"/>
                </a:lnTo>
                <a:lnTo>
                  <a:pt x="630319" y="475894"/>
                </a:lnTo>
                <a:lnTo>
                  <a:pt x="630319" y="484473"/>
                </a:lnTo>
                <a:lnTo>
                  <a:pt x="579348" y="484473"/>
                </a:lnTo>
                <a:close/>
                <a:moveTo>
                  <a:pt x="499108" y="404232"/>
                </a:moveTo>
                <a:lnTo>
                  <a:pt x="508696" y="404232"/>
                </a:lnTo>
                <a:lnTo>
                  <a:pt x="508696" y="440063"/>
                </a:lnTo>
                <a:lnTo>
                  <a:pt x="549574" y="440063"/>
                </a:lnTo>
                <a:lnTo>
                  <a:pt x="549574" y="404232"/>
                </a:lnTo>
                <a:lnTo>
                  <a:pt x="559162" y="404232"/>
                </a:lnTo>
                <a:lnTo>
                  <a:pt x="559162" y="484473"/>
                </a:lnTo>
                <a:lnTo>
                  <a:pt x="549574" y="484473"/>
                </a:lnTo>
                <a:lnTo>
                  <a:pt x="549574" y="448642"/>
                </a:lnTo>
                <a:lnTo>
                  <a:pt x="508696" y="448642"/>
                </a:lnTo>
                <a:lnTo>
                  <a:pt x="508696" y="484473"/>
                </a:lnTo>
                <a:lnTo>
                  <a:pt x="499108" y="484473"/>
                </a:lnTo>
                <a:close/>
                <a:moveTo>
                  <a:pt x="272011" y="404232"/>
                </a:moveTo>
                <a:cubicBezTo>
                  <a:pt x="302900" y="404232"/>
                  <a:pt x="302900" y="404232"/>
                  <a:pt x="302900" y="404232"/>
                </a:cubicBezTo>
                <a:cubicBezTo>
                  <a:pt x="318345" y="404232"/>
                  <a:pt x="329037" y="411418"/>
                  <a:pt x="329037" y="429382"/>
                </a:cubicBezTo>
                <a:cubicBezTo>
                  <a:pt x="329037" y="442556"/>
                  <a:pt x="323097" y="449742"/>
                  <a:pt x="313592" y="452137"/>
                </a:cubicBezTo>
                <a:cubicBezTo>
                  <a:pt x="329037" y="484473"/>
                  <a:pt x="329037" y="484473"/>
                  <a:pt x="329037" y="484473"/>
                </a:cubicBezTo>
                <a:cubicBezTo>
                  <a:pt x="318345" y="484473"/>
                  <a:pt x="318345" y="484473"/>
                  <a:pt x="318345" y="484473"/>
                </a:cubicBezTo>
                <a:cubicBezTo>
                  <a:pt x="304088" y="454532"/>
                  <a:pt x="304088" y="454532"/>
                  <a:pt x="304088" y="454532"/>
                </a:cubicBezTo>
                <a:cubicBezTo>
                  <a:pt x="281515" y="454532"/>
                  <a:pt x="281515" y="454532"/>
                  <a:pt x="281515" y="454532"/>
                </a:cubicBezTo>
                <a:cubicBezTo>
                  <a:pt x="281515" y="484473"/>
                  <a:pt x="281515" y="484473"/>
                  <a:pt x="281515" y="484473"/>
                </a:cubicBezTo>
                <a:cubicBezTo>
                  <a:pt x="272011" y="484473"/>
                  <a:pt x="272011" y="484473"/>
                  <a:pt x="272011" y="484473"/>
                </a:cubicBezTo>
                <a:close/>
                <a:moveTo>
                  <a:pt x="122632" y="404232"/>
                </a:moveTo>
                <a:cubicBezTo>
                  <a:pt x="152428" y="404232"/>
                  <a:pt x="152428" y="404232"/>
                  <a:pt x="152428" y="404232"/>
                </a:cubicBezTo>
                <a:cubicBezTo>
                  <a:pt x="167922" y="404232"/>
                  <a:pt x="178649" y="411418"/>
                  <a:pt x="178649" y="429382"/>
                </a:cubicBezTo>
                <a:cubicBezTo>
                  <a:pt x="178649" y="446149"/>
                  <a:pt x="167922" y="454532"/>
                  <a:pt x="152428" y="454532"/>
                </a:cubicBezTo>
                <a:cubicBezTo>
                  <a:pt x="132167" y="454532"/>
                  <a:pt x="132167" y="454532"/>
                  <a:pt x="132167" y="454532"/>
                </a:cubicBezTo>
                <a:cubicBezTo>
                  <a:pt x="132167" y="484473"/>
                  <a:pt x="132167" y="484473"/>
                  <a:pt x="132167" y="484473"/>
                </a:cubicBezTo>
                <a:cubicBezTo>
                  <a:pt x="122632" y="484473"/>
                  <a:pt x="122632" y="484473"/>
                  <a:pt x="122632" y="484473"/>
                </a:cubicBezTo>
                <a:close/>
                <a:moveTo>
                  <a:pt x="29775" y="404232"/>
                </a:moveTo>
                <a:lnTo>
                  <a:pt x="41887" y="404232"/>
                </a:lnTo>
                <a:lnTo>
                  <a:pt x="71662" y="484473"/>
                </a:lnTo>
                <a:lnTo>
                  <a:pt x="61064" y="484473"/>
                </a:lnTo>
                <a:lnTo>
                  <a:pt x="53999" y="463782"/>
                </a:lnTo>
                <a:lnTo>
                  <a:pt x="18168" y="463782"/>
                </a:lnTo>
                <a:lnTo>
                  <a:pt x="9589" y="484473"/>
                </a:lnTo>
                <a:lnTo>
                  <a:pt x="0" y="484473"/>
                </a:lnTo>
                <a:close/>
                <a:moveTo>
                  <a:pt x="793576" y="402718"/>
                </a:moveTo>
                <a:cubicBezTo>
                  <a:pt x="812676" y="402718"/>
                  <a:pt x="824613" y="413513"/>
                  <a:pt x="824613" y="431505"/>
                </a:cubicBezTo>
                <a:lnTo>
                  <a:pt x="824613" y="456695"/>
                </a:lnTo>
                <a:cubicBezTo>
                  <a:pt x="824613" y="474687"/>
                  <a:pt x="812676" y="485482"/>
                  <a:pt x="793576" y="485482"/>
                </a:cubicBezTo>
                <a:cubicBezTo>
                  <a:pt x="774477" y="485482"/>
                  <a:pt x="762540" y="474687"/>
                  <a:pt x="762540" y="456695"/>
                </a:cubicBezTo>
                <a:cubicBezTo>
                  <a:pt x="762540" y="431505"/>
                  <a:pt x="762540" y="431505"/>
                  <a:pt x="762540" y="431505"/>
                </a:cubicBezTo>
                <a:cubicBezTo>
                  <a:pt x="762540" y="413513"/>
                  <a:pt x="774477" y="402718"/>
                  <a:pt x="793576" y="402718"/>
                </a:cubicBezTo>
                <a:close/>
                <a:moveTo>
                  <a:pt x="718476" y="402718"/>
                </a:moveTo>
                <a:cubicBezTo>
                  <a:pt x="736436" y="402718"/>
                  <a:pt x="748409" y="412314"/>
                  <a:pt x="748409" y="429107"/>
                </a:cubicBezTo>
                <a:cubicBezTo>
                  <a:pt x="748409" y="430306"/>
                  <a:pt x="748409" y="430306"/>
                  <a:pt x="748409" y="430306"/>
                </a:cubicBezTo>
                <a:cubicBezTo>
                  <a:pt x="738830" y="430306"/>
                  <a:pt x="738830" y="430306"/>
                  <a:pt x="738830" y="430306"/>
                </a:cubicBezTo>
                <a:cubicBezTo>
                  <a:pt x="738830" y="429107"/>
                  <a:pt x="738830" y="429107"/>
                  <a:pt x="738830" y="429107"/>
                </a:cubicBezTo>
                <a:cubicBezTo>
                  <a:pt x="738830" y="418311"/>
                  <a:pt x="730449" y="411114"/>
                  <a:pt x="718476" y="411114"/>
                </a:cubicBezTo>
                <a:cubicBezTo>
                  <a:pt x="704108" y="411114"/>
                  <a:pt x="696924" y="418311"/>
                  <a:pt x="696924" y="431505"/>
                </a:cubicBezTo>
                <a:cubicBezTo>
                  <a:pt x="696924" y="456695"/>
                  <a:pt x="696924" y="456695"/>
                  <a:pt x="696924" y="456695"/>
                </a:cubicBezTo>
                <a:cubicBezTo>
                  <a:pt x="696924" y="469889"/>
                  <a:pt x="704108" y="477086"/>
                  <a:pt x="718476" y="477086"/>
                </a:cubicBezTo>
                <a:cubicBezTo>
                  <a:pt x="730449" y="477086"/>
                  <a:pt x="738830" y="471088"/>
                  <a:pt x="738830" y="459093"/>
                </a:cubicBezTo>
                <a:lnTo>
                  <a:pt x="748409" y="459093"/>
                </a:lnTo>
                <a:cubicBezTo>
                  <a:pt x="748409" y="475886"/>
                  <a:pt x="736436" y="485482"/>
                  <a:pt x="718476" y="485482"/>
                </a:cubicBezTo>
                <a:cubicBezTo>
                  <a:pt x="699318" y="485482"/>
                  <a:pt x="687345" y="474687"/>
                  <a:pt x="687345" y="456695"/>
                </a:cubicBezTo>
                <a:cubicBezTo>
                  <a:pt x="687345" y="431505"/>
                  <a:pt x="687345" y="431505"/>
                  <a:pt x="687345" y="431505"/>
                </a:cubicBezTo>
                <a:cubicBezTo>
                  <a:pt x="687345" y="413513"/>
                  <a:pt x="699318" y="402718"/>
                  <a:pt x="718476" y="402718"/>
                </a:cubicBezTo>
                <a:close/>
                <a:moveTo>
                  <a:pt x="450572" y="402718"/>
                </a:moveTo>
                <a:cubicBezTo>
                  <a:pt x="469571" y="402718"/>
                  <a:pt x="481445" y="412314"/>
                  <a:pt x="481445" y="429107"/>
                </a:cubicBezTo>
                <a:cubicBezTo>
                  <a:pt x="481445" y="430306"/>
                  <a:pt x="481445" y="430306"/>
                  <a:pt x="481445" y="430306"/>
                </a:cubicBezTo>
                <a:cubicBezTo>
                  <a:pt x="471946" y="430306"/>
                  <a:pt x="471946" y="430306"/>
                  <a:pt x="471946" y="430306"/>
                </a:cubicBezTo>
                <a:cubicBezTo>
                  <a:pt x="471946" y="429107"/>
                  <a:pt x="471946" y="429107"/>
                  <a:pt x="471946" y="429107"/>
                </a:cubicBezTo>
                <a:cubicBezTo>
                  <a:pt x="471946" y="418311"/>
                  <a:pt x="463634" y="411114"/>
                  <a:pt x="450572" y="411114"/>
                </a:cubicBezTo>
                <a:cubicBezTo>
                  <a:pt x="437510" y="411114"/>
                  <a:pt x="430385" y="418311"/>
                  <a:pt x="430385" y="431505"/>
                </a:cubicBezTo>
                <a:cubicBezTo>
                  <a:pt x="430385" y="456695"/>
                  <a:pt x="430385" y="456695"/>
                  <a:pt x="430385" y="456695"/>
                </a:cubicBezTo>
                <a:cubicBezTo>
                  <a:pt x="430385" y="469889"/>
                  <a:pt x="437510" y="477086"/>
                  <a:pt x="450572" y="477086"/>
                </a:cubicBezTo>
                <a:cubicBezTo>
                  <a:pt x="463634" y="477086"/>
                  <a:pt x="471946" y="471088"/>
                  <a:pt x="471946" y="459093"/>
                </a:cubicBezTo>
                <a:lnTo>
                  <a:pt x="481445" y="459093"/>
                </a:lnTo>
                <a:cubicBezTo>
                  <a:pt x="481445" y="475886"/>
                  <a:pt x="469571" y="485482"/>
                  <a:pt x="450572" y="485482"/>
                </a:cubicBezTo>
                <a:cubicBezTo>
                  <a:pt x="431573" y="485482"/>
                  <a:pt x="420886" y="474687"/>
                  <a:pt x="420886" y="456695"/>
                </a:cubicBezTo>
                <a:cubicBezTo>
                  <a:pt x="420886" y="431505"/>
                  <a:pt x="420886" y="431505"/>
                  <a:pt x="420886" y="431505"/>
                </a:cubicBezTo>
                <a:cubicBezTo>
                  <a:pt x="420886" y="413513"/>
                  <a:pt x="431573" y="402718"/>
                  <a:pt x="450572" y="402718"/>
                </a:cubicBezTo>
                <a:close/>
                <a:moveTo>
                  <a:pt x="374364" y="402718"/>
                </a:moveTo>
                <a:cubicBezTo>
                  <a:pt x="393479" y="402718"/>
                  <a:pt x="403036" y="411114"/>
                  <a:pt x="403036" y="426708"/>
                </a:cubicBezTo>
                <a:cubicBezTo>
                  <a:pt x="403036" y="427907"/>
                  <a:pt x="403036" y="427907"/>
                  <a:pt x="403036" y="427907"/>
                </a:cubicBezTo>
                <a:cubicBezTo>
                  <a:pt x="393479" y="427907"/>
                  <a:pt x="393479" y="427907"/>
                  <a:pt x="393479" y="427907"/>
                </a:cubicBezTo>
                <a:cubicBezTo>
                  <a:pt x="393479" y="426708"/>
                  <a:pt x="393479" y="426708"/>
                  <a:pt x="393479" y="426708"/>
                </a:cubicBezTo>
                <a:cubicBezTo>
                  <a:pt x="393479" y="415912"/>
                  <a:pt x="387505" y="411114"/>
                  <a:pt x="374364" y="411114"/>
                </a:cubicBezTo>
                <a:cubicBezTo>
                  <a:pt x="362417" y="411114"/>
                  <a:pt x="356443" y="415912"/>
                  <a:pt x="356443" y="424309"/>
                </a:cubicBezTo>
                <a:cubicBezTo>
                  <a:pt x="356443" y="432705"/>
                  <a:pt x="361222" y="436303"/>
                  <a:pt x="368390" y="437503"/>
                </a:cubicBezTo>
                <a:cubicBezTo>
                  <a:pt x="383921" y="441101"/>
                  <a:pt x="383921" y="441101"/>
                  <a:pt x="383921" y="441101"/>
                </a:cubicBezTo>
                <a:cubicBezTo>
                  <a:pt x="397063" y="443500"/>
                  <a:pt x="404231" y="450697"/>
                  <a:pt x="404231" y="462692"/>
                </a:cubicBezTo>
                <a:cubicBezTo>
                  <a:pt x="404231" y="478285"/>
                  <a:pt x="393479" y="485482"/>
                  <a:pt x="374364" y="485482"/>
                </a:cubicBezTo>
                <a:cubicBezTo>
                  <a:pt x="356443" y="485482"/>
                  <a:pt x="345691" y="477086"/>
                  <a:pt x="345691" y="461492"/>
                </a:cubicBezTo>
                <a:cubicBezTo>
                  <a:pt x="345691" y="460293"/>
                  <a:pt x="345691" y="460293"/>
                  <a:pt x="345691" y="460293"/>
                </a:cubicBezTo>
                <a:cubicBezTo>
                  <a:pt x="355249" y="460293"/>
                  <a:pt x="355249" y="460293"/>
                  <a:pt x="355249" y="460293"/>
                </a:cubicBezTo>
                <a:cubicBezTo>
                  <a:pt x="355249" y="461492"/>
                  <a:pt x="355249" y="461492"/>
                  <a:pt x="355249" y="461492"/>
                </a:cubicBezTo>
                <a:cubicBezTo>
                  <a:pt x="355249" y="472288"/>
                  <a:pt x="362417" y="477086"/>
                  <a:pt x="374364" y="477086"/>
                </a:cubicBezTo>
                <a:cubicBezTo>
                  <a:pt x="387505" y="477086"/>
                  <a:pt x="393479" y="472288"/>
                  <a:pt x="393479" y="462692"/>
                </a:cubicBezTo>
                <a:cubicBezTo>
                  <a:pt x="393479" y="455495"/>
                  <a:pt x="388700" y="450697"/>
                  <a:pt x="381532" y="449498"/>
                </a:cubicBezTo>
                <a:cubicBezTo>
                  <a:pt x="366001" y="447099"/>
                  <a:pt x="366001" y="447099"/>
                  <a:pt x="366001" y="447099"/>
                </a:cubicBezTo>
                <a:cubicBezTo>
                  <a:pt x="354054" y="444700"/>
                  <a:pt x="346886" y="437503"/>
                  <a:pt x="346886" y="425508"/>
                </a:cubicBezTo>
                <a:cubicBezTo>
                  <a:pt x="346886" y="411114"/>
                  <a:pt x="356443" y="402718"/>
                  <a:pt x="374364" y="402718"/>
                </a:cubicBezTo>
                <a:close/>
                <a:moveTo>
                  <a:pt x="221798" y="402718"/>
                </a:moveTo>
                <a:cubicBezTo>
                  <a:pt x="240897" y="402718"/>
                  <a:pt x="252834" y="413513"/>
                  <a:pt x="252834" y="431505"/>
                </a:cubicBezTo>
                <a:lnTo>
                  <a:pt x="252834" y="456695"/>
                </a:lnTo>
                <a:cubicBezTo>
                  <a:pt x="252834" y="474687"/>
                  <a:pt x="240897" y="485482"/>
                  <a:pt x="221798" y="485482"/>
                </a:cubicBezTo>
                <a:cubicBezTo>
                  <a:pt x="202698" y="485482"/>
                  <a:pt x="190761" y="474687"/>
                  <a:pt x="190761" y="456695"/>
                </a:cubicBezTo>
                <a:cubicBezTo>
                  <a:pt x="190761" y="431505"/>
                  <a:pt x="190761" y="431505"/>
                  <a:pt x="190761" y="431505"/>
                </a:cubicBezTo>
                <a:cubicBezTo>
                  <a:pt x="190761" y="413513"/>
                  <a:pt x="202698" y="402718"/>
                  <a:pt x="221798" y="402718"/>
                </a:cubicBezTo>
                <a:close/>
                <a:moveTo>
                  <a:pt x="1049691" y="43905"/>
                </a:moveTo>
                <a:cubicBezTo>
                  <a:pt x="1049691" y="43905"/>
                  <a:pt x="1049691" y="43905"/>
                  <a:pt x="1049691" y="130202"/>
                </a:cubicBezTo>
                <a:cubicBezTo>
                  <a:pt x="1049691" y="130202"/>
                  <a:pt x="1049691" y="130202"/>
                  <a:pt x="1114157" y="130202"/>
                </a:cubicBezTo>
                <a:cubicBezTo>
                  <a:pt x="1147584" y="130202"/>
                  <a:pt x="1160716" y="115819"/>
                  <a:pt x="1160716" y="87054"/>
                </a:cubicBezTo>
                <a:cubicBezTo>
                  <a:pt x="1160716" y="55891"/>
                  <a:pt x="1147584" y="43905"/>
                  <a:pt x="1114157" y="43905"/>
                </a:cubicBezTo>
                <a:cubicBezTo>
                  <a:pt x="1114157" y="43905"/>
                  <a:pt x="1114157" y="43905"/>
                  <a:pt x="1049691" y="43905"/>
                </a:cubicBezTo>
                <a:close/>
                <a:moveTo>
                  <a:pt x="999729" y="0"/>
                </a:moveTo>
                <a:cubicBezTo>
                  <a:pt x="999729" y="0"/>
                  <a:pt x="999729" y="0"/>
                  <a:pt x="1115234" y="0"/>
                </a:cubicBezTo>
                <a:cubicBezTo>
                  <a:pt x="1173581" y="0"/>
                  <a:pt x="1211686" y="23905"/>
                  <a:pt x="1211686" y="87253"/>
                </a:cubicBezTo>
                <a:cubicBezTo>
                  <a:pt x="1211686" y="145820"/>
                  <a:pt x="1174772" y="173311"/>
                  <a:pt x="1115234" y="173311"/>
                </a:cubicBezTo>
                <a:cubicBezTo>
                  <a:pt x="1115234" y="173311"/>
                  <a:pt x="1115234" y="173311"/>
                  <a:pt x="1049741" y="173311"/>
                </a:cubicBezTo>
                <a:cubicBezTo>
                  <a:pt x="1049741" y="173311"/>
                  <a:pt x="1049741" y="173311"/>
                  <a:pt x="1049741" y="295226"/>
                </a:cubicBezTo>
                <a:cubicBezTo>
                  <a:pt x="1049741" y="295226"/>
                  <a:pt x="1049741" y="295226"/>
                  <a:pt x="999729" y="295226"/>
                </a:cubicBezTo>
                <a:cubicBezTo>
                  <a:pt x="999729" y="295226"/>
                  <a:pt x="999729" y="295226"/>
                  <a:pt x="999729" y="0"/>
                </a:cubicBezTo>
                <a:close/>
                <a:moveTo>
                  <a:pt x="717625" y="0"/>
                </a:moveTo>
                <a:lnTo>
                  <a:pt x="767586" y="0"/>
                </a:lnTo>
                <a:lnTo>
                  <a:pt x="767586" y="129193"/>
                </a:lnTo>
                <a:lnTo>
                  <a:pt x="893751" y="129193"/>
                </a:lnTo>
                <a:lnTo>
                  <a:pt x="893751" y="0"/>
                </a:lnTo>
                <a:lnTo>
                  <a:pt x="943712" y="0"/>
                </a:lnTo>
                <a:lnTo>
                  <a:pt x="943712" y="295226"/>
                </a:lnTo>
                <a:lnTo>
                  <a:pt x="893751" y="295226"/>
                </a:lnTo>
                <a:lnTo>
                  <a:pt x="893751" y="173098"/>
                </a:lnTo>
                <a:lnTo>
                  <a:pt x="767586" y="173098"/>
                </a:lnTo>
                <a:lnTo>
                  <a:pt x="767586" y="295226"/>
                </a:lnTo>
                <a:lnTo>
                  <a:pt x="717625" y="295226"/>
                </a:lnTo>
                <a:close/>
                <a:moveTo>
                  <a:pt x="401708" y="0"/>
                </a:moveTo>
                <a:lnTo>
                  <a:pt x="448137" y="0"/>
                </a:lnTo>
                <a:lnTo>
                  <a:pt x="531405" y="135249"/>
                </a:lnTo>
                <a:lnTo>
                  <a:pt x="616188" y="0"/>
                </a:lnTo>
                <a:lnTo>
                  <a:pt x="661607" y="0"/>
                </a:lnTo>
                <a:lnTo>
                  <a:pt x="661607" y="295226"/>
                </a:lnTo>
                <a:lnTo>
                  <a:pt x="612655" y="295226"/>
                </a:lnTo>
                <a:lnTo>
                  <a:pt x="612655" y="93362"/>
                </a:lnTo>
                <a:lnTo>
                  <a:pt x="531405" y="221041"/>
                </a:lnTo>
                <a:lnTo>
                  <a:pt x="451669" y="93362"/>
                </a:lnTo>
                <a:lnTo>
                  <a:pt x="451669" y="295226"/>
                </a:lnTo>
                <a:lnTo>
                  <a:pt x="401708" y="295226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301" name="SmartArt-Platzhalter 300">
            <a:extLst>
              <a:ext uri="{FF2B5EF4-FFF2-40B4-BE49-F238E27FC236}">
                <a16:creationId xmlns:a16="http://schemas.microsoft.com/office/drawing/2014/main" id="{75DC54DC-758D-42F2-99F9-BAD25F1F1C23}"/>
              </a:ext>
            </a:extLst>
          </p:cNvPr>
          <p:cNvSpPr>
            <a:spLocks noGrp="1"/>
          </p:cNvSpPr>
          <p:nvPr>
            <p:ph type="dgm" sz="quarter" idx="16"/>
          </p:nvPr>
        </p:nvSpPr>
        <p:spPr bwMode="gray">
          <a:xfrm>
            <a:off x="10567565" y="488304"/>
            <a:ext cx="291692" cy="295226"/>
          </a:xfrm>
          <a:custGeom>
            <a:avLst/>
            <a:gdLst>
              <a:gd name="connsiteX0" fmla="*/ 117585 w 291692"/>
              <a:gd name="connsiteY0" fmla="*/ 163510 h 295226"/>
              <a:gd name="connsiteX1" fmla="*/ 166537 w 291692"/>
              <a:gd name="connsiteY1" fmla="*/ 163510 h 295226"/>
              <a:gd name="connsiteX2" fmla="*/ 145341 w 291692"/>
              <a:gd name="connsiteY2" fmla="*/ 295226 h 295226"/>
              <a:gd name="connsiteX3" fmla="*/ 96389 w 291692"/>
              <a:gd name="connsiteY3" fmla="*/ 295226 h 295226"/>
              <a:gd name="connsiteX4" fmla="*/ 242740 w 291692"/>
              <a:gd name="connsiteY4" fmla="*/ 0 h 295226"/>
              <a:gd name="connsiteX5" fmla="*/ 291692 w 291692"/>
              <a:gd name="connsiteY5" fmla="*/ 0 h 295226"/>
              <a:gd name="connsiteX6" fmla="*/ 291692 w 291692"/>
              <a:gd name="connsiteY6" fmla="*/ 295226 h 295226"/>
              <a:gd name="connsiteX7" fmla="*/ 242740 w 291692"/>
              <a:gd name="connsiteY7" fmla="*/ 295226 h 295226"/>
              <a:gd name="connsiteX8" fmla="*/ 145341 w 291692"/>
              <a:gd name="connsiteY8" fmla="*/ 0 h 295226"/>
              <a:gd name="connsiteX9" fmla="*/ 193788 w 291692"/>
              <a:gd name="connsiteY9" fmla="*/ 0 h 295226"/>
              <a:gd name="connsiteX10" fmla="*/ 175116 w 291692"/>
              <a:gd name="connsiteY10" fmla="*/ 114558 h 295226"/>
              <a:gd name="connsiteX11" fmla="*/ 126164 w 291692"/>
              <a:gd name="connsiteY11" fmla="*/ 114558 h 295226"/>
              <a:gd name="connsiteX12" fmla="*/ 0 w 291692"/>
              <a:gd name="connsiteY12" fmla="*/ 0 h 295226"/>
              <a:gd name="connsiteX13" fmla="*/ 48447 w 291692"/>
              <a:gd name="connsiteY13" fmla="*/ 0 h 295226"/>
              <a:gd name="connsiteX14" fmla="*/ 48447 w 291692"/>
              <a:gd name="connsiteY14" fmla="*/ 295226 h 295226"/>
              <a:gd name="connsiteX15" fmla="*/ 0 w 291692"/>
              <a:gd name="connsiteY15" fmla="*/ 295226 h 2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91692" h="295226">
                <a:moveTo>
                  <a:pt x="117585" y="163510"/>
                </a:moveTo>
                <a:lnTo>
                  <a:pt x="166537" y="163510"/>
                </a:lnTo>
                <a:lnTo>
                  <a:pt x="145341" y="295226"/>
                </a:lnTo>
                <a:lnTo>
                  <a:pt x="96389" y="295226"/>
                </a:lnTo>
                <a:close/>
                <a:moveTo>
                  <a:pt x="242740" y="0"/>
                </a:moveTo>
                <a:lnTo>
                  <a:pt x="291692" y="0"/>
                </a:lnTo>
                <a:lnTo>
                  <a:pt x="291692" y="295226"/>
                </a:lnTo>
                <a:lnTo>
                  <a:pt x="242740" y="295226"/>
                </a:lnTo>
                <a:close/>
                <a:moveTo>
                  <a:pt x="145341" y="0"/>
                </a:moveTo>
                <a:lnTo>
                  <a:pt x="193788" y="0"/>
                </a:lnTo>
                <a:lnTo>
                  <a:pt x="175116" y="114558"/>
                </a:lnTo>
                <a:lnTo>
                  <a:pt x="126164" y="114558"/>
                </a:lnTo>
                <a:close/>
                <a:moveTo>
                  <a:pt x="0" y="0"/>
                </a:moveTo>
                <a:lnTo>
                  <a:pt x="48447" y="0"/>
                </a:lnTo>
                <a:lnTo>
                  <a:pt x="48447" y="295226"/>
                </a:lnTo>
                <a:lnTo>
                  <a:pt x="0" y="29522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703B1E4E-1054-4CB6-A4E9-A587222B3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484313"/>
            <a:ext cx="4823916" cy="7921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lientitel </a:t>
            </a:r>
            <a:br>
              <a:rPr lang="de-DE" dirty="0"/>
            </a:br>
            <a:r>
              <a:rPr lang="de-DE" dirty="0"/>
              <a:t>einfügen</a:t>
            </a:r>
          </a:p>
        </p:txBody>
      </p:sp>
    </p:spTree>
    <p:extLst>
      <p:ext uri="{BB962C8B-B14F-4D97-AF65-F5344CB8AC3E}">
        <p14:creationId xmlns:p14="http://schemas.microsoft.com/office/powerpoint/2010/main" val="288358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759C0B6-6FDE-491A-8A06-B37FBDC0CD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775" y="1196975"/>
            <a:ext cx="7488238" cy="5184776"/>
          </a:xfrm>
        </p:spPr>
        <p:txBody>
          <a:bodyPr anchor="ctr"/>
          <a:lstStyle>
            <a:lvl1pPr>
              <a:defRPr sz="5200"/>
            </a:lvl1pPr>
          </a:lstStyle>
          <a:p>
            <a:r>
              <a:rPr lang="de-DE" dirty="0"/>
              <a:t>Kapitelüberschrift</a:t>
            </a:r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609814AE-3D6F-4BC4-ABC8-754D20D6C4E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-1" y="0"/>
            <a:ext cx="4295775" cy="6858000"/>
          </a:xfrm>
          <a:custGeom>
            <a:avLst/>
            <a:gdLst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429577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311497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309592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5775" h="6858000">
                <a:moveTo>
                  <a:pt x="0" y="0"/>
                </a:moveTo>
                <a:lnTo>
                  <a:pt x="4295775" y="0"/>
                </a:lnTo>
                <a:lnTo>
                  <a:pt x="3095925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bIns="756000"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</p:spTree>
    <p:extLst>
      <p:ext uri="{BB962C8B-B14F-4D97-AF65-F5344CB8AC3E}">
        <p14:creationId xmlns:p14="http://schemas.microsoft.com/office/powerpoint/2010/main" val="1748673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ben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9A434E-132E-4D6C-825B-3548C26BB6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einfügen</a:t>
            </a:r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id="{97757D99-B392-47B4-BDE9-8B748811F00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989" y="1484313"/>
            <a:ext cx="11372971" cy="48974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74155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ten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AF5A46C-2E65-42C7-8A2B-E0E53656A2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9" y="1484313"/>
            <a:ext cx="11377598" cy="79216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lientitel einfügen</a:t>
            </a:r>
          </a:p>
        </p:txBody>
      </p:sp>
      <p:sp>
        <p:nvSpPr>
          <p:cNvPr id="11" name="Textplatzhalter 15">
            <a:extLst>
              <a:ext uri="{FF2B5EF4-FFF2-40B4-BE49-F238E27FC236}">
                <a16:creationId xmlns:a16="http://schemas.microsoft.com/office/drawing/2014/main" id="{3570A816-EA40-46AD-903D-86DF5C8C21D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989" y="2589213"/>
            <a:ext cx="11376024" cy="37925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5975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34C979E5-64FB-4BEC-B5BA-291871687374}"/>
              </a:ext>
            </a:extLst>
          </p:cNvPr>
          <p:cNvSpPr/>
          <p:nvPr userDrawn="1"/>
        </p:nvSpPr>
        <p:spPr bwMode="gray">
          <a:xfrm>
            <a:off x="6250421" y="0"/>
            <a:ext cx="5941579" cy="6858000"/>
          </a:xfrm>
          <a:custGeom>
            <a:avLst/>
            <a:gdLst>
              <a:gd name="connsiteX0" fmla="*/ 1199851 w 5941579"/>
              <a:gd name="connsiteY0" fmla="*/ 0 h 6858000"/>
              <a:gd name="connsiteX1" fmla="*/ 1643583 w 5941579"/>
              <a:gd name="connsiteY1" fmla="*/ 0 h 6858000"/>
              <a:gd name="connsiteX2" fmla="*/ 4686214 w 5941579"/>
              <a:gd name="connsiteY2" fmla="*/ 0 h 6858000"/>
              <a:gd name="connsiteX3" fmla="*/ 5194685 w 5941579"/>
              <a:gd name="connsiteY3" fmla="*/ 0 h 6858000"/>
              <a:gd name="connsiteX4" fmla="*/ 5433108 w 5941579"/>
              <a:gd name="connsiteY4" fmla="*/ 0 h 6858000"/>
              <a:gd name="connsiteX5" fmla="*/ 5941579 w 5941579"/>
              <a:gd name="connsiteY5" fmla="*/ 0 h 6858000"/>
              <a:gd name="connsiteX6" fmla="*/ 5941579 w 5941579"/>
              <a:gd name="connsiteY6" fmla="*/ 6858000 h 6858000"/>
              <a:gd name="connsiteX7" fmla="*/ 5433108 w 5941579"/>
              <a:gd name="connsiteY7" fmla="*/ 6858000 h 6858000"/>
              <a:gd name="connsiteX8" fmla="*/ 5194685 w 5941579"/>
              <a:gd name="connsiteY8" fmla="*/ 6858000 h 6858000"/>
              <a:gd name="connsiteX9" fmla="*/ 4686214 w 5941579"/>
              <a:gd name="connsiteY9" fmla="*/ 6858000 h 6858000"/>
              <a:gd name="connsiteX10" fmla="*/ 504699 w 5941579"/>
              <a:gd name="connsiteY10" fmla="*/ 6858000 h 6858000"/>
              <a:gd name="connsiteX11" fmla="*/ 0 w 5941579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941579" h="6858000">
                <a:moveTo>
                  <a:pt x="1199851" y="0"/>
                </a:moveTo>
                <a:lnTo>
                  <a:pt x="1643583" y="0"/>
                </a:lnTo>
                <a:lnTo>
                  <a:pt x="4686214" y="0"/>
                </a:lnTo>
                <a:lnTo>
                  <a:pt x="5194685" y="0"/>
                </a:lnTo>
                <a:lnTo>
                  <a:pt x="5433108" y="0"/>
                </a:lnTo>
                <a:lnTo>
                  <a:pt x="5941579" y="0"/>
                </a:lnTo>
                <a:lnTo>
                  <a:pt x="5941579" y="6858000"/>
                </a:lnTo>
                <a:lnTo>
                  <a:pt x="5433108" y="6858000"/>
                </a:lnTo>
                <a:lnTo>
                  <a:pt x="5194685" y="6858000"/>
                </a:lnTo>
                <a:lnTo>
                  <a:pt x="4686214" y="6858000"/>
                </a:lnTo>
                <a:lnTo>
                  <a:pt x="5046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de-DE" sz="1400" b="1" dirty="0" err="1">
              <a:solidFill>
                <a:schemeClr val="bg1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21951E-D998-406D-8DA3-CD1E5D0FB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55C038-ADBC-4355-B701-93788356F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EEAC42-F94F-4D9A-8CB5-ED46D3DC3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E6297EE1-DFC3-468A-8F52-08EAE4BE2FB3}"/>
              </a:ext>
            </a:extLst>
          </p:cNvPr>
          <p:cNvGrpSpPr/>
          <p:nvPr userDrawn="1"/>
        </p:nvGrpSpPr>
        <p:grpSpPr bwMode="gray">
          <a:xfrm>
            <a:off x="10566602" y="490326"/>
            <a:ext cx="1214480" cy="484470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A0B9B0A7-1D49-434A-8734-1BC81061A5D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8" name="Rectangle 8">
              <a:extLst>
                <a:ext uri="{FF2B5EF4-FFF2-40B4-BE49-F238E27FC236}">
                  <a16:creationId xmlns:a16="http://schemas.microsoft.com/office/drawing/2014/main" id="{978CB17F-CB69-470F-A335-1B440A2B6DE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Rectangle 9">
              <a:extLst>
                <a:ext uri="{FF2B5EF4-FFF2-40B4-BE49-F238E27FC236}">
                  <a16:creationId xmlns:a16="http://schemas.microsoft.com/office/drawing/2014/main" id="{340DA9A0-A568-4A30-B979-6AD129666AE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40BB410A-6CDF-4DC3-9D87-57EE91A8F2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3ADFE1F7-E4E4-4676-83AD-77C64082A8E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DDA8BDF6-592A-4A7D-8C59-931BA0C1597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448E1A99-C33A-47DC-B31B-E55FC27E6FF2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6CB5841D-95F3-464A-B6E0-ED762FDB2737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59C0F1E1-50C6-4844-85DD-F693FB043E1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6D5DA6AE-8162-4769-84A6-535FC799A3D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0BBD9CB9-58C5-4CDA-93F1-B5713E5E446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id="{851E33C6-6949-43F7-9B95-F902EC40C11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19">
              <a:extLst>
                <a:ext uri="{FF2B5EF4-FFF2-40B4-BE49-F238E27FC236}">
                  <a16:creationId xmlns:a16="http://schemas.microsoft.com/office/drawing/2014/main" id="{B8BBB448-EC34-4024-839A-DDFD8789636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0">
              <a:extLst>
                <a:ext uri="{FF2B5EF4-FFF2-40B4-BE49-F238E27FC236}">
                  <a16:creationId xmlns:a16="http://schemas.microsoft.com/office/drawing/2014/main" id="{0C9C3BC7-8172-4E5F-A98B-B042438F272C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1">
              <a:extLst>
                <a:ext uri="{FF2B5EF4-FFF2-40B4-BE49-F238E27FC236}">
                  <a16:creationId xmlns:a16="http://schemas.microsoft.com/office/drawing/2014/main" id="{252528BA-97A5-458D-AB6A-06008C4ED4C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2">
              <a:extLst>
                <a:ext uri="{FF2B5EF4-FFF2-40B4-BE49-F238E27FC236}">
                  <a16:creationId xmlns:a16="http://schemas.microsoft.com/office/drawing/2014/main" id="{98AFCD07-9CD8-4906-B8B6-3598CB4556A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Freeform 23">
              <a:extLst>
                <a:ext uri="{FF2B5EF4-FFF2-40B4-BE49-F238E27FC236}">
                  <a16:creationId xmlns:a16="http://schemas.microsoft.com/office/drawing/2014/main" id="{F8DDEE6A-CED7-4FCD-A048-7ECE66BA4B39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Freeform 24">
              <a:extLst>
                <a:ext uri="{FF2B5EF4-FFF2-40B4-BE49-F238E27FC236}">
                  <a16:creationId xmlns:a16="http://schemas.microsoft.com/office/drawing/2014/main" id="{D0E345AE-B002-46F9-B14B-33D80B7EA28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6" name="Freeform 25">
              <a:extLst>
                <a:ext uri="{FF2B5EF4-FFF2-40B4-BE49-F238E27FC236}">
                  <a16:creationId xmlns:a16="http://schemas.microsoft.com/office/drawing/2014/main" id="{1E80A287-9A1F-49DB-9861-D1C4FFDE2AD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1757E900-E22E-4D84-88DD-6A131F0C162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A1053C06-069D-45DF-B60E-DE64D83E3CA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9" name="Freeform 28">
              <a:extLst>
                <a:ext uri="{FF2B5EF4-FFF2-40B4-BE49-F238E27FC236}">
                  <a16:creationId xmlns:a16="http://schemas.microsoft.com/office/drawing/2014/main" id="{BAAFB67F-DF15-406E-BFA6-BE655B144AF7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40" name="Freeform 29">
              <a:extLst>
                <a:ext uri="{FF2B5EF4-FFF2-40B4-BE49-F238E27FC236}">
                  <a16:creationId xmlns:a16="http://schemas.microsoft.com/office/drawing/2014/main" id="{AD6871C5-C022-49F8-93C7-60AD1086DA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8" name="Titel 7">
            <a:extLst>
              <a:ext uri="{FF2B5EF4-FFF2-40B4-BE49-F238E27FC236}">
                <a16:creationId xmlns:a16="http://schemas.microsoft.com/office/drawing/2014/main" id="{0AF3E990-B13D-41D9-846A-0E24B3BFDA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9" y="404814"/>
            <a:ext cx="5545904" cy="79216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lientitel einfügen</a:t>
            </a:r>
          </a:p>
        </p:txBody>
      </p:sp>
      <p:sp>
        <p:nvSpPr>
          <p:cNvPr id="42" name="Textplatzhalter 5">
            <a:extLst>
              <a:ext uri="{FF2B5EF4-FFF2-40B4-BE49-F238E27FC236}">
                <a16:creationId xmlns:a16="http://schemas.microsoft.com/office/drawing/2014/main" id="{D13C25BA-0F4E-45B5-884D-0BB87897A3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6401" y="1484313"/>
            <a:ext cx="5547492" cy="48974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83682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Bildplatzhalter 7">
            <a:extLst>
              <a:ext uri="{FF2B5EF4-FFF2-40B4-BE49-F238E27FC236}">
                <a16:creationId xmlns:a16="http://schemas.microsoft.com/office/drawing/2014/main" id="{196C0B4F-DD9E-41CD-A027-C58349F37F2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FA2A4A1-BA7F-4AF1-9556-2CE004434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9" y="1484313"/>
            <a:ext cx="5543550" cy="79216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lientitel ein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21951E-D998-406D-8DA3-CD1E5D0FB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55C038-ADBC-4355-B701-93788356F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EEAC42-F94F-4D9A-8CB5-ED46D3DC3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7" name="SmartArt-Platzhalter 296">
            <a:extLst>
              <a:ext uri="{FF2B5EF4-FFF2-40B4-BE49-F238E27FC236}">
                <a16:creationId xmlns:a16="http://schemas.microsoft.com/office/drawing/2014/main" id="{5A909AA4-7409-4340-B373-87656CD8C6E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0566051" y="488304"/>
            <a:ext cx="1213200" cy="485482"/>
          </a:xfrm>
          <a:custGeom>
            <a:avLst/>
            <a:gdLst>
              <a:gd name="connsiteX0" fmla="*/ 1022440 w 1213200"/>
              <a:gd name="connsiteY0" fmla="*/ 413820 h 485482"/>
              <a:gd name="connsiteX1" fmla="*/ 1006795 w 1213200"/>
              <a:gd name="connsiteY1" fmla="*/ 455707 h 485482"/>
              <a:gd name="connsiteX2" fmla="*/ 1038084 w 1213200"/>
              <a:gd name="connsiteY2" fmla="*/ 455707 h 485482"/>
              <a:gd name="connsiteX3" fmla="*/ 35830 w 1213200"/>
              <a:gd name="connsiteY3" fmla="*/ 413820 h 485482"/>
              <a:gd name="connsiteX4" fmla="*/ 20186 w 1213200"/>
              <a:gd name="connsiteY4" fmla="*/ 455707 h 485482"/>
              <a:gd name="connsiteX5" fmla="*/ 51475 w 1213200"/>
              <a:gd name="connsiteY5" fmla="*/ 455707 h 485482"/>
              <a:gd name="connsiteX6" fmla="*/ 942703 w 1213200"/>
              <a:gd name="connsiteY6" fmla="*/ 412306 h 485482"/>
              <a:gd name="connsiteX7" fmla="*/ 942703 w 1213200"/>
              <a:gd name="connsiteY7" fmla="*/ 446118 h 485482"/>
              <a:gd name="connsiteX8" fmla="*/ 962906 w 1213200"/>
              <a:gd name="connsiteY8" fmla="*/ 446118 h 485482"/>
              <a:gd name="connsiteX9" fmla="*/ 979543 w 1213200"/>
              <a:gd name="connsiteY9" fmla="*/ 429212 h 485482"/>
              <a:gd name="connsiteX10" fmla="*/ 962906 w 1213200"/>
              <a:gd name="connsiteY10" fmla="*/ 412306 h 485482"/>
              <a:gd name="connsiteX11" fmla="*/ 942703 w 1213200"/>
              <a:gd name="connsiteY11" fmla="*/ 412306 h 485482"/>
              <a:gd name="connsiteX12" fmla="*/ 281095 w 1213200"/>
              <a:gd name="connsiteY12" fmla="*/ 412306 h 485482"/>
              <a:gd name="connsiteX13" fmla="*/ 281095 w 1213200"/>
              <a:gd name="connsiteY13" fmla="*/ 446118 h 485482"/>
              <a:gd name="connsiteX14" fmla="*/ 302669 w 1213200"/>
              <a:gd name="connsiteY14" fmla="*/ 446118 h 485482"/>
              <a:gd name="connsiteX15" fmla="*/ 319449 w 1213200"/>
              <a:gd name="connsiteY15" fmla="*/ 429212 h 485482"/>
              <a:gd name="connsiteX16" fmla="*/ 302669 w 1213200"/>
              <a:gd name="connsiteY16" fmla="*/ 412306 h 485482"/>
              <a:gd name="connsiteX17" fmla="*/ 281095 w 1213200"/>
              <a:gd name="connsiteY17" fmla="*/ 412306 h 485482"/>
              <a:gd name="connsiteX18" fmla="*/ 132221 w 1213200"/>
              <a:gd name="connsiteY18" fmla="*/ 412306 h 485482"/>
              <a:gd name="connsiteX19" fmla="*/ 132221 w 1213200"/>
              <a:gd name="connsiteY19" fmla="*/ 446118 h 485482"/>
              <a:gd name="connsiteX20" fmla="*/ 152525 w 1213200"/>
              <a:gd name="connsiteY20" fmla="*/ 446118 h 485482"/>
              <a:gd name="connsiteX21" fmla="*/ 168052 w 1213200"/>
              <a:gd name="connsiteY21" fmla="*/ 429212 h 485482"/>
              <a:gd name="connsiteX22" fmla="*/ 152525 w 1213200"/>
              <a:gd name="connsiteY22" fmla="*/ 412306 h 485482"/>
              <a:gd name="connsiteX23" fmla="*/ 132221 w 1213200"/>
              <a:gd name="connsiteY23" fmla="*/ 412306 h 485482"/>
              <a:gd name="connsiteX24" fmla="*/ 793576 w 1213200"/>
              <a:gd name="connsiteY24" fmla="*/ 411297 h 485482"/>
              <a:gd name="connsiteX25" fmla="*/ 772128 w 1213200"/>
              <a:gd name="connsiteY25" fmla="*/ 431575 h 485482"/>
              <a:gd name="connsiteX26" fmla="*/ 772128 w 1213200"/>
              <a:gd name="connsiteY26" fmla="*/ 456625 h 485482"/>
              <a:gd name="connsiteX27" fmla="*/ 793576 w 1213200"/>
              <a:gd name="connsiteY27" fmla="*/ 476903 h 485482"/>
              <a:gd name="connsiteX28" fmla="*/ 815024 w 1213200"/>
              <a:gd name="connsiteY28" fmla="*/ 456625 h 485482"/>
              <a:gd name="connsiteX29" fmla="*/ 815024 w 1213200"/>
              <a:gd name="connsiteY29" fmla="*/ 431575 h 485482"/>
              <a:gd name="connsiteX30" fmla="*/ 793576 w 1213200"/>
              <a:gd name="connsiteY30" fmla="*/ 411297 h 485482"/>
              <a:gd name="connsiteX31" fmla="*/ 221798 w 1213200"/>
              <a:gd name="connsiteY31" fmla="*/ 411297 h 485482"/>
              <a:gd name="connsiteX32" fmla="*/ 200350 w 1213200"/>
              <a:gd name="connsiteY32" fmla="*/ 431575 h 485482"/>
              <a:gd name="connsiteX33" fmla="*/ 200350 w 1213200"/>
              <a:gd name="connsiteY33" fmla="*/ 456625 h 485482"/>
              <a:gd name="connsiteX34" fmla="*/ 221798 w 1213200"/>
              <a:gd name="connsiteY34" fmla="*/ 476903 h 485482"/>
              <a:gd name="connsiteX35" fmla="*/ 243246 w 1213200"/>
              <a:gd name="connsiteY35" fmla="*/ 456625 h 485482"/>
              <a:gd name="connsiteX36" fmla="*/ 243246 w 1213200"/>
              <a:gd name="connsiteY36" fmla="*/ 431575 h 485482"/>
              <a:gd name="connsiteX37" fmla="*/ 221798 w 1213200"/>
              <a:gd name="connsiteY37" fmla="*/ 411297 h 485482"/>
              <a:gd name="connsiteX38" fmla="*/ 1144062 w 1213200"/>
              <a:gd name="connsiteY38" fmla="*/ 404232 h 485482"/>
              <a:gd name="connsiteX39" fmla="*/ 1154660 w 1213200"/>
              <a:gd name="connsiteY39" fmla="*/ 404232 h 485482"/>
              <a:gd name="connsiteX40" fmla="*/ 1178379 w 1213200"/>
              <a:gd name="connsiteY40" fmla="*/ 443596 h 485482"/>
              <a:gd name="connsiteX41" fmla="*/ 1201088 w 1213200"/>
              <a:gd name="connsiteY41" fmla="*/ 404232 h 485482"/>
              <a:gd name="connsiteX42" fmla="*/ 1213200 w 1213200"/>
              <a:gd name="connsiteY42" fmla="*/ 404232 h 485482"/>
              <a:gd name="connsiteX43" fmla="*/ 1183425 w 1213200"/>
              <a:gd name="connsiteY43" fmla="*/ 453184 h 485482"/>
              <a:gd name="connsiteX44" fmla="*/ 1183425 w 1213200"/>
              <a:gd name="connsiteY44" fmla="*/ 484473 h 485482"/>
              <a:gd name="connsiteX45" fmla="*/ 1173837 w 1213200"/>
              <a:gd name="connsiteY45" fmla="*/ 484473 h 485482"/>
              <a:gd name="connsiteX46" fmla="*/ 1173837 w 1213200"/>
              <a:gd name="connsiteY46" fmla="*/ 453184 h 485482"/>
              <a:gd name="connsiteX47" fmla="*/ 1071391 w 1213200"/>
              <a:gd name="connsiteY47" fmla="*/ 404232 h 485482"/>
              <a:gd name="connsiteX48" fmla="*/ 1079466 w 1213200"/>
              <a:gd name="connsiteY48" fmla="*/ 404232 h 485482"/>
              <a:gd name="connsiteX49" fmla="*/ 1121352 w 1213200"/>
              <a:gd name="connsiteY49" fmla="*/ 467315 h 485482"/>
              <a:gd name="connsiteX50" fmla="*/ 1121352 w 1213200"/>
              <a:gd name="connsiteY50" fmla="*/ 404232 h 485482"/>
              <a:gd name="connsiteX51" fmla="*/ 1130941 w 1213200"/>
              <a:gd name="connsiteY51" fmla="*/ 404232 h 485482"/>
              <a:gd name="connsiteX52" fmla="*/ 1130941 w 1213200"/>
              <a:gd name="connsiteY52" fmla="*/ 484473 h 485482"/>
              <a:gd name="connsiteX53" fmla="*/ 1122362 w 1213200"/>
              <a:gd name="connsiteY53" fmla="*/ 484473 h 485482"/>
              <a:gd name="connsiteX54" fmla="*/ 1080980 w 1213200"/>
              <a:gd name="connsiteY54" fmla="*/ 420886 h 485482"/>
              <a:gd name="connsiteX55" fmla="*/ 1080980 w 1213200"/>
              <a:gd name="connsiteY55" fmla="*/ 484473 h 485482"/>
              <a:gd name="connsiteX56" fmla="*/ 1071391 w 1213200"/>
              <a:gd name="connsiteY56" fmla="*/ 484473 h 485482"/>
              <a:gd name="connsiteX57" fmla="*/ 1017392 w 1213200"/>
              <a:gd name="connsiteY57" fmla="*/ 404232 h 485482"/>
              <a:gd name="connsiteX58" fmla="*/ 1029504 w 1213200"/>
              <a:gd name="connsiteY58" fmla="*/ 404232 h 485482"/>
              <a:gd name="connsiteX59" fmla="*/ 1058269 w 1213200"/>
              <a:gd name="connsiteY59" fmla="*/ 484473 h 485482"/>
              <a:gd name="connsiteX60" fmla="*/ 1048681 w 1213200"/>
              <a:gd name="connsiteY60" fmla="*/ 484473 h 485482"/>
              <a:gd name="connsiteX61" fmla="*/ 1040101 w 1213200"/>
              <a:gd name="connsiteY61" fmla="*/ 463782 h 485482"/>
              <a:gd name="connsiteX62" fmla="*/ 1004271 w 1213200"/>
              <a:gd name="connsiteY62" fmla="*/ 463782 h 485482"/>
              <a:gd name="connsiteX63" fmla="*/ 997205 w 1213200"/>
              <a:gd name="connsiteY63" fmla="*/ 484473 h 485482"/>
              <a:gd name="connsiteX64" fmla="*/ 987617 w 1213200"/>
              <a:gd name="connsiteY64" fmla="*/ 484473 h 485482"/>
              <a:gd name="connsiteX65" fmla="*/ 933114 w 1213200"/>
              <a:gd name="connsiteY65" fmla="*/ 404232 h 485482"/>
              <a:gd name="connsiteX66" fmla="*/ 962910 w 1213200"/>
              <a:gd name="connsiteY66" fmla="*/ 404232 h 485482"/>
              <a:gd name="connsiteX67" fmla="*/ 989131 w 1213200"/>
              <a:gd name="connsiteY67" fmla="*/ 429382 h 485482"/>
              <a:gd name="connsiteX68" fmla="*/ 962910 w 1213200"/>
              <a:gd name="connsiteY68" fmla="*/ 454532 h 485482"/>
              <a:gd name="connsiteX69" fmla="*/ 942649 w 1213200"/>
              <a:gd name="connsiteY69" fmla="*/ 454532 h 485482"/>
              <a:gd name="connsiteX70" fmla="*/ 942649 w 1213200"/>
              <a:gd name="connsiteY70" fmla="*/ 484473 h 485482"/>
              <a:gd name="connsiteX71" fmla="*/ 933114 w 1213200"/>
              <a:gd name="connsiteY71" fmla="*/ 484473 h 485482"/>
              <a:gd name="connsiteX72" fmla="*/ 843790 w 1213200"/>
              <a:gd name="connsiteY72" fmla="*/ 404232 h 485482"/>
              <a:gd name="connsiteX73" fmla="*/ 853378 w 1213200"/>
              <a:gd name="connsiteY73" fmla="*/ 404232 h 485482"/>
              <a:gd name="connsiteX74" fmla="*/ 878107 w 1213200"/>
              <a:gd name="connsiteY74" fmla="*/ 452175 h 485482"/>
              <a:gd name="connsiteX75" fmla="*/ 903340 w 1213200"/>
              <a:gd name="connsiteY75" fmla="*/ 404232 h 485482"/>
              <a:gd name="connsiteX76" fmla="*/ 912928 w 1213200"/>
              <a:gd name="connsiteY76" fmla="*/ 404232 h 485482"/>
              <a:gd name="connsiteX77" fmla="*/ 912928 w 1213200"/>
              <a:gd name="connsiteY77" fmla="*/ 484473 h 485482"/>
              <a:gd name="connsiteX78" fmla="*/ 903340 w 1213200"/>
              <a:gd name="connsiteY78" fmla="*/ 484473 h 485482"/>
              <a:gd name="connsiteX79" fmla="*/ 903340 w 1213200"/>
              <a:gd name="connsiteY79" fmla="*/ 423409 h 485482"/>
              <a:gd name="connsiteX80" fmla="*/ 878107 w 1213200"/>
              <a:gd name="connsiteY80" fmla="*/ 469838 h 485482"/>
              <a:gd name="connsiteX81" fmla="*/ 853378 w 1213200"/>
              <a:gd name="connsiteY81" fmla="*/ 423409 h 485482"/>
              <a:gd name="connsiteX82" fmla="*/ 853378 w 1213200"/>
              <a:gd name="connsiteY82" fmla="*/ 484473 h 485482"/>
              <a:gd name="connsiteX83" fmla="*/ 843790 w 1213200"/>
              <a:gd name="connsiteY83" fmla="*/ 484473 h 485482"/>
              <a:gd name="connsiteX84" fmla="*/ 579348 w 1213200"/>
              <a:gd name="connsiteY84" fmla="*/ 404232 h 485482"/>
              <a:gd name="connsiteX85" fmla="*/ 630319 w 1213200"/>
              <a:gd name="connsiteY85" fmla="*/ 404232 h 485482"/>
              <a:gd name="connsiteX86" fmla="*/ 630319 w 1213200"/>
              <a:gd name="connsiteY86" fmla="*/ 412307 h 485482"/>
              <a:gd name="connsiteX87" fmla="*/ 588937 w 1213200"/>
              <a:gd name="connsiteY87" fmla="*/ 412307 h 485482"/>
              <a:gd name="connsiteX88" fmla="*/ 588937 w 1213200"/>
              <a:gd name="connsiteY88" fmla="*/ 440063 h 485482"/>
              <a:gd name="connsiteX89" fmla="*/ 625777 w 1213200"/>
              <a:gd name="connsiteY89" fmla="*/ 440063 h 485482"/>
              <a:gd name="connsiteX90" fmla="*/ 625777 w 1213200"/>
              <a:gd name="connsiteY90" fmla="*/ 448642 h 485482"/>
              <a:gd name="connsiteX91" fmla="*/ 588937 w 1213200"/>
              <a:gd name="connsiteY91" fmla="*/ 448642 h 485482"/>
              <a:gd name="connsiteX92" fmla="*/ 588937 w 1213200"/>
              <a:gd name="connsiteY92" fmla="*/ 475894 h 485482"/>
              <a:gd name="connsiteX93" fmla="*/ 630319 w 1213200"/>
              <a:gd name="connsiteY93" fmla="*/ 475894 h 485482"/>
              <a:gd name="connsiteX94" fmla="*/ 630319 w 1213200"/>
              <a:gd name="connsiteY94" fmla="*/ 484473 h 485482"/>
              <a:gd name="connsiteX95" fmla="*/ 579348 w 1213200"/>
              <a:gd name="connsiteY95" fmla="*/ 484473 h 485482"/>
              <a:gd name="connsiteX96" fmla="*/ 499108 w 1213200"/>
              <a:gd name="connsiteY96" fmla="*/ 404232 h 485482"/>
              <a:gd name="connsiteX97" fmla="*/ 508696 w 1213200"/>
              <a:gd name="connsiteY97" fmla="*/ 404232 h 485482"/>
              <a:gd name="connsiteX98" fmla="*/ 508696 w 1213200"/>
              <a:gd name="connsiteY98" fmla="*/ 440063 h 485482"/>
              <a:gd name="connsiteX99" fmla="*/ 549574 w 1213200"/>
              <a:gd name="connsiteY99" fmla="*/ 440063 h 485482"/>
              <a:gd name="connsiteX100" fmla="*/ 549574 w 1213200"/>
              <a:gd name="connsiteY100" fmla="*/ 404232 h 485482"/>
              <a:gd name="connsiteX101" fmla="*/ 559162 w 1213200"/>
              <a:gd name="connsiteY101" fmla="*/ 404232 h 485482"/>
              <a:gd name="connsiteX102" fmla="*/ 559162 w 1213200"/>
              <a:gd name="connsiteY102" fmla="*/ 484473 h 485482"/>
              <a:gd name="connsiteX103" fmla="*/ 549574 w 1213200"/>
              <a:gd name="connsiteY103" fmla="*/ 484473 h 485482"/>
              <a:gd name="connsiteX104" fmla="*/ 549574 w 1213200"/>
              <a:gd name="connsiteY104" fmla="*/ 448642 h 485482"/>
              <a:gd name="connsiteX105" fmla="*/ 508696 w 1213200"/>
              <a:gd name="connsiteY105" fmla="*/ 448642 h 485482"/>
              <a:gd name="connsiteX106" fmla="*/ 508696 w 1213200"/>
              <a:gd name="connsiteY106" fmla="*/ 484473 h 485482"/>
              <a:gd name="connsiteX107" fmla="*/ 499108 w 1213200"/>
              <a:gd name="connsiteY107" fmla="*/ 484473 h 485482"/>
              <a:gd name="connsiteX108" fmla="*/ 272011 w 1213200"/>
              <a:gd name="connsiteY108" fmla="*/ 404232 h 485482"/>
              <a:gd name="connsiteX109" fmla="*/ 302900 w 1213200"/>
              <a:gd name="connsiteY109" fmla="*/ 404232 h 485482"/>
              <a:gd name="connsiteX110" fmla="*/ 329037 w 1213200"/>
              <a:gd name="connsiteY110" fmla="*/ 429382 h 485482"/>
              <a:gd name="connsiteX111" fmla="*/ 313592 w 1213200"/>
              <a:gd name="connsiteY111" fmla="*/ 452137 h 485482"/>
              <a:gd name="connsiteX112" fmla="*/ 329037 w 1213200"/>
              <a:gd name="connsiteY112" fmla="*/ 484473 h 485482"/>
              <a:gd name="connsiteX113" fmla="*/ 318345 w 1213200"/>
              <a:gd name="connsiteY113" fmla="*/ 484473 h 485482"/>
              <a:gd name="connsiteX114" fmla="*/ 304088 w 1213200"/>
              <a:gd name="connsiteY114" fmla="*/ 454532 h 485482"/>
              <a:gd name="connsiteX115" fmla="*/ 281515 w 1213200"/>
              <a:gd name="connsiteY115" fmla="*/ 454532 h 485482"/>
              <a:gd name="connsiteX116" fmla="*/ 281515 w 1213200"/>
              <a:gd name="connsiteY116" fmla="*/ 484473 h 485482"/>
              <a:gd name="connsiteX117" fmla="*/ 272011 w 1213200"/>
              <a:gd name="connsiteY117" fmla="*/ 484473 h 485482"/>
              <a:gd name="connsiteX118" fmla="*/ 122632 w 1213200"/>
              <a:gd name="connsiteY118" fmla="*/ 404232 h 485482"/>
              <a:gd name="connsiteX119" fmla="*/ 152428 w 1213200"/>
              <a:gd name="connsiteY119" fmla="*/ 404232 h 485482"/>
              <a:gd name="connsiteX120" fmla="*/ 178649 w 1213200"/>
              <a:gd name="connsiteY120" fmla="*/ 429382 h 485482"/>
              <a:gd name="connsiteX121" fmla="*/ 152428 w 1213200"/>
              <a:gd name="connsiteY121" fmla="*/ 454532 h 485482"/>
              <a:gd name="connsiteX122" fmla="*/ 132167 w 1213200"/>
              <a:gd name="connsiteY122" fmla="*/ 454532 h 485482"/>
              <a:gd name="connsiteX123" fmla="*/ 132167 w 1213200"/>
              <a:gd name="connsiteY123" fmla="*/ 484473 h 485482"/>
              <a:gd name="connsiteX124" fmla="*/ 122632 w 1213200"/>
              <a:gd name="connsiteY124" fmla="*/ 484473 h 485482"/>
              <a:gd name="connsiteX125" fmla="*/ 29775 w 1213200"/>
              <a:gd name="connsiteY125" fmla="*/ 404232 h 485482"/>
              <a:gd name="connsiteX126" fmla="*/ 41887 w 1213200"/>
              <a:gd name="connsiteY126" fmla="*/ 404232 h 485482"/>
              <a:gd name="connsiteX127" fmla="*/ 71662 w 1213200"/>
              <a:gd name="connsiteY127" fmla="*/ 484473 h 485482"/>
              <a:gd name="connsiteX128" fmla="*/ 61064 w 1213200"/>
              <a:gd name="connsiteY128" fmla="*/ 484473 h 485482"/>
              <a:gd name="connsiteX129" fmla="*/ 53999 w 1213200"/>
              <a:gd name="connsiteY129" fmla="*/ 463782 h 485482"/>
              <a:gd name="connsiteX130" fmla="*/ 18168 w 1213200"/>
              <a:gd name="connsiteY130" fmla="*/ 463782 h 485482"/>
              <a:gd name="connsiteX131" fmla="*/ 9589 w 1213200"/>
              <a:gd name="connsiteY131" fmla="*/ 484473 h 485482"/>
              <a:gd name="connsiteX132" fmla="*/ 0 w 1213200"/>
              <a:gd name="connsiteY132" fmla="*/ 484473 h 485482"/>
              <a:gd name="connsiteX133" fmla="*/ 793576 w 1213200"/>
              <a:gd name="connsiteY133" fmla="*/ 402718 h 485482"/>
              <a:gd name="connsiteX134" fmla="*/ 824613 w 1213200"/>
              <a:gd name="connsiteY134" fmla="*/ 431505 h 485482"/>
              <a:gd name="connsiteX135" fmla="*/ 824613 w 1213200"/>
              <a:gd name="connsiteY135" fmla="*/ 456695 h 485482"/>
              <a:gd name="connsiteX136" fmla="*/ 793576 w 1213200"/>
              <a:gd name="connsiteY136" fmla="*/ 485482 h 485482"/>
              <a:gd name="connsiteX137" fmla="*/ 762540 w 1213200"/>
              <a:gd name="connsiteY137" fmla="*/ 456695 h 485482"/>
              <a:gd name="connsiteX138" fmla="*/ 762540 w 1213200"/>
              <a:gd name="connsiteY138" fmla="*/ 431505 h 485482"/>
              <a:gd name="connsiteX139" fmla="*/ 793576 w 1213200"/>
              <a:gd name="connsiteY139" fmla="*/ 402718 h 485482"/>
              <a:gd name="connsiteX140" fmla="*/ 718476 w 1213200"/>
              <a:gd name="connsiteY140" fmla="*/ 402718 h 485482"/>
              <a:gd name="connsiteX141" fmla="*/ 748409 w 1213200"/>
              <a:gd name="connsiteY141" fmla="*/ 429107 h 485482"/>
              <a:gd name="connsiteX142" fmla="*/ 748409 w 1213200"/>
              <a:gd name="connsiteY142" fmla="*/ 430306 h 485482"/>
              <a:gd name="connsiteX143" fmla="*/ 738830 w 1213200"/>
              <a:gd name="connsiteY143" fmla="*/ 430306 h 485482"/>
              <a:gd name="connsiteX144" fmla="*/ 738830 w 1213200"/>
              <a:gd name="connsiteY144" fmla="*/ 429107 h 485482"/>
              <a:gd name="connsiteX145" fmla="*/ 718476 w 1213200"/>
              <a:gd name="connsiteY145" fmla="*/ 411114 h 485482"/>
              <a:gd name="connsiteX146" fmla="*/ 696924 w 1213200"/>
              <a:gd name="connsiteY146" fmla="*/ 431505 h 485482"/>
              <a:gd name="connsiteX147" fmla="*/ 696924 w 1213200"/>
              <a:gd name="connsiteY147" fmla="*/ 456695 h 485482"/>
              <a:gd name="connsiteX148" fmla="*/ 718476 w 1213200"/>
              <a:gd name="connsiteY148" fmla="*/ 477086 h 485482"/>
              <a:gd name="connsiteX149" fmla="*/ 738830 w 1213200"/>
              <a:gd name="connsiteY149" fmla="*/ 459093 h 485482"/>
              <a:gd name="connsiteX150" fmla="*/ 748409 w 1213200"/>
              <a:gd name="connsiteY150" fmla="*/ 459093 h 485482"/>
              <a:gd name="connsiteX151" fmla="*/ 718476 w 1213200"/>
              <a:gd name="connsiteY151" fmla="*/ 485482 h 485482"/>
              <a:gd name="connsiteX152" fmla="*/ 687345 w 1213200"/>
              <a:gd name="connsiteY152" fmla="*/ 456695 h 485482"/>
              <a:gd name="connsiteX153" fmla="*/ 687345 w 1213200"/>
              <a:gd name="connsiteY153" fmla="*/ 431505 h 485482"/>
              <a:gd name="connsiteX154" fmla="*/ 718476 w 1213200"/>
              <a:gd name="connsiteY154" fmla="*/ 402718 h 485482"/>
              <a:gd name="connsiteX155" fmla="*/ 450572 w 1213200"/>
              <a:gd name="connsiteY155" fmla="*/ 402718 h 485482"/>
              <a:gd name="connsiteX156" fmla="*/ 481445 w 1213200"/>
              <a:gd name="connsiteY156" fmla="*/ 429107 h 485482"/>
              <a:gd name="connsiteX157" fmla="*/ 481445 w 1213200"/>
              <a:gd name="connsiteY157" fmla="*/ 430306 h 485482"/>
              <a:gd name="connsiteX158" fmla="*/ 471946 w 1213200"/>
              <a:gd name="connsiteY158" fmla="*/ 430306 h 485482"/>
              <a:gd name="connsiteX159" fmla="*/ 471946 w 1213200"/>
              <a:gd name="connsiteY159" fmla="*/ 429107 h 485482"/>
              <a:gd name="connsiteX160" fmla="*/ 450572 w 1213200"/>
              <a:gd name="connsiteY160" fmla="*/ 411114 h 485482"/>
              <a:gd name="connsiteX161" fmla="*/ 430385 w 1213200"/>
              <a:gd name="connsiteY161" fmla="*/ 431505 h 485482"/>
              <a:gd name="connsiteX162" fmla="*/ 430385 w 1213200"/>
              <a:gd name="connsiteY162" fmla="*/ 456695 h 485482"/>
              <a:gd name="connsiteX163" fmla="*/ 450572 w 1213200"/>
              <a:gd name="connsiteY163" fmla="*/ 477086 h 485482"/>
              <a:gd name="connsiteX164" fmla="*/ 471946 w 1213200"/>
              <a:gd name="connsiteY164" fmla="*/ 459093 h 485482"/>
              <a:gd name="connsiteX165" fmla="*/ 481445 w 1213200"/>
              <a:gd name="connsiteY165" fmla="*/ 459093 h 485482"/>
              <a:gd name="connsiteX166" fmla="*/ 450572 w 1213200"/>
              <a:gd name="connsiteY166" fmla="*/ 485482 h 485482"/>
              <a:gd name="connsiteX167" fmla="*/ 420886 w 1213200"/>
              <a:gd name="connsiteY167" fmla="*/ 456695 h 485482"/>
              <a:gd name="connsiteX168" fmla="*/ 420886 w 1213200"/>
              <a:gd name="connsiteY168" fmla="*/ 431505 h 485482"/>
              <a:gd name="connsiteX169" fmla="*/ 450572 w 1213200"/>
              <a:gd name="connsiteY169" fmla="*/ 402718 h 485482"/>
              <a:gd name="connsiteX170" fmla="*/ 374364 w 1213200"/>
              <a:gd name="connsiteY170" fmla="*/ 402718 h 485482"/>
              <a:gd name="connsiteX171" fmla="*/ 403036 w 1213200"/>
              <a:gd name="connsiteY171" fmla="*/ 426708 h 485482"/>
              <a:gd name="connsiteX172" fmla="*/ 403036 w 1213200"/>
              <a:gd name="connsiteY172" fmla="*/ 427907 h 485482"/>
              <a:gd name="connsiteX173" fmla="*/ 393479 w 1213200"/>
              <a:gd name="connsiteY173" fmla="*/ 427907 h 485482"/>
              <a:gd name="connsiteX174" fmla="*/ 393479 w 1213200"/>
              <a:gd name="connsiteY174" fmla="*/ 426708 h 485482"/>
              <a:gd name="connsiteX175" fmla="*/ 374364 w 1213200"/>
              <a:gd name="connsiteY175" fmla="*/ 411114 h 485482"/>
              <a:gd name="connsiteX176" fmla="*/ 356443 w 1213200"/>
              <a:gd name="connsiteY176" fmla="*/ 424309 h 485482"/>
              <a:gd name="connsiteX177" fmla="*/ 368390 w 1213200"/>
              <a:gd name="connsiteY177" fmla="*/ 437503 h 485482"/>
              <a:gd name="connsiteX178" fmla="*/ 383921 w 1213200"/>
              <a:gd name="connsiteY178" fmla="*/ 441101 h 485482"/>
              <a:gd name="connsiteX179" fmla="*/ 404231 w 1213200"/>
              <a:gd name="connsiteY179" fmla="*/ 462692 h 485482"/>
              <a:gd name="connsiteX180" fmla="*/ 374364 w 1213200"/>
              <a:gd name="connsiteY180" fmla="*/ 485482 h 485482"/>
              <a:gd name="connsiteX181" fmla="*/ 345691 w 1213200"/>
              <a:gd name="connsiteY181" fmla="*/ 461492 h 485482"/>
              <a:gd name="connsiteX182" fmla="*/ 345691 w 1213200"/>
              <a:gd name="connsiteY182" fmla="*/ 460293 h 485482"/>
              <a:gd name="connsiteX183" fmla="*/ 355249 w 1213200"/>
              <a:gd name="connsiteY183" fmla="*/ 460293 h 485482"/>
              <a:gd name="connsiteX184" fmla="*/ 355249 w 1213200"/>
              <a:gd name="connsiteY184" fmla="*/ 461492 h 485482"/>
              <a:gd name="connsiteX185" fmla="*/ 374364 w 1213200"/>
              <a:gd name="connsiteY185" fmla="*/ 477086 h 485482"/>
              <a:gd name="connsiteX186" fmla="*/ 393479 w 1213200"/>
              <a:gd name="connsiteY186" fmla="*/ 462692 h 485482"/>
              <a:gd name="connsiteX187" fmla="*/ 381532 w 1213200"/>
              <a:gd name="connsiteY187" fmla="*/ 449498 h 485482"/>
              <a:gd name="connsiteX188" fmla="*/ 366001 w 1213200"/>
              <a:gd name="connsiteY188" fmla="*/ 447099 h 485482"/>
              <a:gd name="connsiteX189" fmla="*/ 346886 w 1213200"/>
              <a:gd name="connsiteY189" fmla="*/ 425508 h 485482"/>
              <a:gd name="connsiteX190" fmla="*/ 374364 w 1213200"/>
              <a:gd name="connsiteY190" fmla="*/ 402718 h 485482"/>
              <a:gd name="connsiteX191" fmla="*/ 221798 w 1213200"/>
              <a:gd name="connsiteY191" fmla="*/ 402718 h 485482"/>
              <a:gd name="connsiteX192" fmla="*/ 252834 w 1213200"/>
              <a:gd name="connsiteY192" fmla="*/ 431505 h 485482"/>
              <a:gd name="connsiteX193" fmla="*/ 252834 w 1213200"/>
              <a:gd name="connsiteY193" fmla="*/ 456695 h 485482"/>
              <a:gd name="connsiteX194" fmla="*/ 221798 w 1213200"/>
              <a:gd name="connsiteY194" fmla="*/ 485482 h 485482"/>
              <a:gd name="connsiteX195" fmla="*/ 190761 w 1213200"/>
              <a:gd name="connsiteY195" fmla="*/ 456695 h 485482"/>
              <a:gd name="connsiteX196" fmla="*/ 190761 w 1213200"/>
              <a:gd name="connsiteY196" fmla="*/ 431505 h 485482"/>
              <a:gd name="connsiteX197" fmla="*/ 221798 w 1213200"/>
              <a:gd name="connsiteY197" fmla="*/ 402718 h 485482"/>
              <a:gd name="connsiteX198" fmla="*/ 1049691 w 1213200"/>
              <a:gd name="connsiteY198" fmla="*/ 43905 h 485482"/>
              <a:gd name="connsiteX199" fmla="*/ 1049691 w 1213200"/>
              <a:gd name="connsiteY199" fmla="*/ 130202 h 485482"/>
              <a:gd name="connsiteX200" fmla="*/ 1114157 w 1213200"/>
              <a:gd name="connsiteY200" fmla="*/ 130202 h 485482"/>
              <a:gd name="connsiteX201" fmla="*/ 1160716 w 1213200"/>
              <a:gd name="connsiteY201" fmla="*/ 87054 h 485482"/>
              <a:gd name="connsiteX202" fmla="*/ 1114157 w 1213200"/>
              <a:gd name="connsiteY202" fmla="*/ 43905 h 485482"/>
              <a:gd name="connsiteX203" fmla="*/ 1049691 w 1213200"/>
              <a:gd name="connsiteY203" fmla="*/ 43905 h 485482"/>
              <a:gd name="connsiteX204" fmla="*/ 999729 w 1213200"/>
              <a:gd name="connsiteY204" fmla="*/ 0 h 485482"/>
              <a:gd name="connsiteX205" fmla="*/ 1115234 w 1213200"/>
              <a:gd name="connsiteY205" fmla="*/ 0 h 485482"/>
              <a:gd name="connsiteX206" fmla="*/ 1211686 w 1213200"/>
              <a:gd name="connsiteY206" fmla="*/ 87253 h 485482"/>
              <a:gd name="connsiteX207" fmla="*/ 1115234 w 1213200"/>
              <a:gd name="connsiteY207" fmla="*/ 173311 h 485482"/>
              <a:gd name="connsiteX208" fmla="*/ 1049741 w 1213200"/>
              <a:gd name="connsiteY208" fmla="*/ 173311 h 485482"/>
              <a:gd name="connsiteX209" fmla="*/ 1049741 w 1213200"/>
              <a:gd name="connsiteY209" fmla="*/ 295226 h 485482"/>
              <a:gd name="connsiteX210" fmla="*/ 999729 w 1213200"/>
              <a:gd name="connsiteY210" fmla="*/ 295226 h 485482"/>
              <a:gd name="connsiteX211" fmla="*/ 999729 w 1213200"/>
              <a:gd name="connsiteY211" fmla="*/ 0 h 485482"/>
              <a:gd name="connsiteX212" fmla="*/ 717625 w 1213200"/>
              <a:gd name="connsiteY212" fmla="*/ 0 h 485482"/>
              <a:gd name="connsiteX213" fmla="*/ 767586 w 1213200"/>
              <a:gd name="connsiteY213" fmla="*/ 0 h 485482"/>
              <a:gd name="connsiteX214" fmla="*/ 767586 w 1213200"/>
              <a:gd name="connsiteY214" fmla="*/ 129193 h 485482"/>
              <a:gd name="connsiteX215" fmla="*/ 893751 w 1213200"/>
              <a:gd name="connsiteY215" fmla="*/ 129193 h 485482"/>
              <a:gd name="connsiteX216" fmla="*/ 893751 w 1213200"/>
              <a:gd name="connsiteY216" fmla="*/ 0 h 485482"/>
              <a:gd name="connsiteX217" fmla="*/ 943712 w 1213200"/>
              <a:gd name="connsiteY217" fmla="*/ 0 h 485482"/>
              <a:gd name="connsiteX218" fmla="*/ 943712 w 1213200"/>
              <a:gd name="connsiteY218" fmla="*/ 295226 h 485482"/>
              <a:gd name="connsiteX219" fmla="*/ 893751 w 1213200"/>
              <a:gd name="connsiteY219" fmla="*/ 295226 h 485482"/>
              <a:gd name="connsiteX220" fmla="*/ 893751 w 1213200"/>
              <a:gd name="connsiteY220" fmla="*/ 173098 h 485482"/>
              <a:gd name="connsiteX221" fmla="*/ 767586 w 1213200"/>
              <a:gd name="connsiteY221" fmla="*/ 173098 h 485482"/>
              <a:gd name="connsiteX222" fmla="*/ 767586 w 1213200"/>
              <a:gd name="connsiteY222" fmla="*/ 295226 h 485482"/>
              <a:gd name="connsiteX223" fmla="*/ 717625 w 1213200"/>
              <a:gd name="connsiteY223" fmla="*/ 295226 h 485482"/>
              <a:gd name="connsiteX224" fmla="*/ 401708 w 1213200"/>
              <a:gd name="connsiteY224" fmla="*/ 0 h 485482"/>
              <a:gd name="connsiteX225" fmla="*/ 448137 w 1213200"/>
              <a:gd name="connsiteY225" fmla="*/ 0 h 485482"/>
              <a:gd name="connsiteX226" fmla="*/ 531405 w 1213200"/>
              <a:gd name="connsiteY226" fmla="*/ 135249 h 485482"/>
              <a:gd name="connsiteX227" fmla="*/ 616188 w 1213200"/>
              <a:gd name="connsiteY227" fmla="*/ 0 h 485482"/>
              <a:gd name="connsiteX228" fmla="*/ 661607 w 1213200"/>
              <a:gd name="connsiteY228" fmla="*/ 0 h 485482"/>
              <a:gd name="connsiteX229" fmla="*/ 661607 w 1213200"/>
              <a:gd name="connsiteY229" fmla="*/ 295226 h 485482"/>
              <a:gd name="connsiteX230" fmla="*/ 612655 w 1213200"/>
              <a:gd name="connsiteY230" fmla="*/ 295226 h 485482"/>
              <a:gd name="connsiteX231" fmla="*/ 612655 w 1213200"/>
              <a:gd name="connsiteY231" fmla="*/ 93362 h 485482"/>
              <a:gd name="connsiteX232" fmla="*/ 531405 w 1213200"/>
              <a:gd name="connsiteY232" fmla="*/ 221041 h 485482"/>
              <a:gd name="connsiteX233" fmla="*/ 451669 w 1213200"/>
              <a:gd name="connsiteY233" fmla="*/ 93362 h 485482"/>
              <a:gd name="connsiteX234" fmla="*/ 451669 w 1213200"/>
              <a:gd name="connsiteY234" fmla="*/ 295226 h 485482"/>
              <a:gd name="connsiteX235" fmla="*/ 401708 w 1213200"/>
              <a:gd name="connsiteY235" fmla="*/ 295226 h 485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1213200" h="485482">
                <a:moveTo>
                  <a:pt x="1022440" y="413820"/>
                </a:moveTo>
                <a:lnTo>
                  <a:pt x="1006795" y="455707"/>
                </a:lnTo>
                <a:lnTo>
                  <a:pt x="1038084" y="455707"/>
                </a:lnTo>
                <a:close/>
                <a:moveTo>
                  <a:pt x="35830" y="413820"/>
                </a:moveTo>
                <a:lnTo>
                  <a:pt x="20186" y="455707"/>
                </a:lnTo>
                <a:lnTo>
                  <a:pt x="51475" y="455707"/>
                </a:lnTo>
                <a:close/>
                <a:moveTo>
                  <a:pt x="942703" y="412306"/>
                </a:moveTo>
                <a:lnTo>
                  <a:pt x="942703" y="446118"/>
                </a:lnTo>
                <a:cubicBezTo>
                  <a:pt x="962906" y="446118"/>
                  <a:pt x="962906" y="446118"/>
                  <a:pt x="962906" y="446118"/>
                </a:cubicBezTo>
                <a:cubicBezTo>
                  <a:pt x="972413" y="446118"/>
                  <a:pt x="979543" y="441288"/>
                  <a:pt x="979543" y="429212"/>
                </a:cubicBezTo>
                <a:cubicBezTo>
                  <a:pt x="979543" y="417136"/>
                  <a:pt x="972413" y="412306"/>
                  <a:pt x="962906" y="412306"/>
                </a:cubicBezTo>
                <a:cubicBezTo>
                  <a:pt x="942703" y="412306"/>
                  <a:pt x="942703" y="412306"/>
                  <a:pt x="942703" y="412306"/>
                </a:cubicBezTo>
                <a:close/>
                <a:moveTo>
                  <a:pt x="281095" y="412306"/>
                </a:moveTo>
                <a:lnTo>
                  <a:pt x="281095" y="446118"/>
                </a:lnTo>
                <a:cubicBezTo>
                  <a:pt x="302669" y="446118"/>
                  <a:pt x="302669" y="446118"/>
                  <a:pt x="302669" y="446118"/>
                </a:cubicBezTo>
                <a:cubicBezTo>
                  <a:pt x="312258" y="446118"/>
                  <a:pt x="319449" y="441288"/>
                  <a:pt x="319449" y="429212"/>
                </a:cubicBezTo>
                <a:cubicBezTo>
                  <a:pt x="319449" y="417136"/>
                  <a:pt x="312258" y="412306"/>
                  <a:pt x="302669" y="412306"/>
                </a:cubicBezTo>
                <a:cubicBezTo>
                  <a:pt x="281095" y="412306"/>
                  <a:pt x="281095" y="412306"/>
                  <a:pt x="281095" y="412306"/>
                </a:cubicBezTo>
                <a:close/>
                <a:moveTo>
                  <a:pt x="132221" y="412306"/>
                </a:moveTo>
                <a:lnTo>
                  <a:pt x="132221" y="446118"/>
                </a:lnTo>
                <a:cubicBezTo>
                  <a:pt x="152525" y="446118"/>
                  <a:pt x="152525" y="446118"/>
                  <a:pt x="152525" y="446118"/>
                </a:cubicBezTo>
                <a:cubicBezTo>
                  <a:pt x="162080" y="446118"/>
                  <a:pt x="168052" y="441288"/>
                  <a:pt x="168052" y="429212"/>
                </a:cubicBezTo>
                <a:cubicBezTo>
                  <a:pt x="168052" y="417136"/>
                  <a:pt x="162080" y="412306"/>
                  <a:pt x="152525" y="412306"/>
                </a:cubicBezTo>
                <a:cubicBezTo>
                  <a:pt x="132221" y="412306"/>
                  <a:pt x="132221" y="412306"/>
                  <a:pt x="132221" y="412306"/>
                </a:cubicBezTo>
                <a:close/>
                <a:moveTo>
                  <a:pt x="793576" y="411297"/>
                </a:moveTo>
                <a:cubicBezTo>
                  <a:pt x="780469" y="411297"/>
                  <a:pt x="772128" y="418454"/>
                  <a:pt x="772128" y="431575"/>
                </a:cubicBezTo>
                <a:cubicBezTo>
                  <a:pt x="772128" y="456625"/>
                  <a:pt x="772128" y="456625"/>
                  <a:pt x="772128" y="456625"/>
                </a:cubicBezTo>
                <a:cubicBezTo>
                  <a:pt x="772128" y="469746"/>
                  <a:pt x="780469" y="476903"/>
                  <a:pt x="793576" y="476903"/>
                </a:cubicBezTo>
                <a:cubicBezTo>
                  <a:pt x="807875" y="476903"/>
                  <a:pt x="815024" y="469746"/>
                  <a:pt x="815024" y="456625"/>
                </a:cubicBezTo>
                <a:lnTo>
                  <a:pt x="815024" y="431575"/>
                </a:lnTo>
                <a:cubicBezTo>
                  <a:pt x="815024" y="418454"/>
                  <a:pt x="807875" y="411297"/>
                  <a:pt x="793576" y="411297"/>
                </a:cubicBezTo>
                <a:close/>
                <a:moveTo>
                  <a:pt x="221798" y="411297"/>
                </a:moveTo>
                <a:cubicBezTo>
                  <a:pt x="207499" y="411297"/>
                  <a:pt x="200350" y="418454"/>
                  <a:pt x="200350" y="431575"/>
                </a:cubicBezTo>
                <a:cubicBezTo>
                  <a:pt x="200350" y="456625"/>
                  <a:pt x="200350" y="456625"/>
                  <a:pt x="200350" y="456625"/>
                </a:cubicBezTo>
                <a:cubicBezTo>
                  <a:pt x="200350" y="469746"/>
                  <a:pt x="207499" y="476903"/>
                  <a:pt x="221798" y="476903"/>
                </a:cubicBezTo>
                <a:cubicBezTo>
                  <a:pt x="234905" y="476903"/>
                  <a:pt x="243246" y="469746"/>
                  <a:pt x="243246" y="456625"/>
                </a:cubicBezTo>
                <a:lnTo>
                  <a:pt x="243246" y="431575"/>
                </a:lnTo>
                <a:cubicBezTo>
                  <a:pt x="243246" y="418454"/>
                  <a:pt x="234905" y="411297"/>
                  <a:pt x="221798" y="411297"/>
                </a:cubicBezTo>
                <a:close/>
                <a:moveTo>
                  <a:pt x="1144062" y="404232"/>
                </a:moveTo>
                <a:lnTo>
                  <a:pt x="1154660" y="404232"/>
                </a:lnTo>
                <a:lnTo>
                  <a:pt x="1178379" y="443596"/>
                </a:lnTo>
                <a:lnTo>
                  <a:pt x="1201088" y="404232"/>
                </a:lnTo>
                <a:lnTo>
                  <a:pt x="1213200" y="404232"/>
                </a:lnTo>
                <a:lnTo>
                  <a:pt x="1183425" y="453184"/>
                </a:lnTo>
                <a:lnTo>
                  <a:pt x="1183425" y="484473"/>
                </a:lnTo>
                <a:lnTo>
                  <a:pt x="1173837" y="484473"/>
                </a:lnTo>
                <a:lnTo>
                  <a:pt x="1173837" y="453184"/>
                </a:lnTo>
                <a:close/>
                <a:moveTo>
                  <a:pt x="1071391" y="404232"/>
                </a:moveTo>
                <a:lnTo>
                  <a:pt x="1079466" y="404232"/>
                </a:lnTo>
                <a:lnTo>
                  <a:pt x="1121352" y="467315"/>
                </a:lnTo>
                <a:lnTo>
                  <a:pt x="1121352" y="404232"/>
                </a:lnTo>
                <a:lnTo>
                  <a:pt x="1130941" y="404232"/>
                </a:lnTo>
                <a:lnTo>
                  <a:pt x="1130941" y="484473"/>
                </a:lnTo>
                <a:lnTo>
                  <a:pt x="1122362" y="484473"/>
                </a:lnTo>
                <a:lnTo>
                  <a:pt x="1080980" y="420886"/>
                </a:lnTo>
                <a:lnTo>
                  <a:pt x="1080980" y="484473"/>
                </a:lnTo>
                <a:lnTo>
                  <a:pt x="1071391" y="484473"/>
                </a:lnTo>
                <a:close/>
                <a:moveTo>
                  <a:pt x="1017392" y="404232"/>
                </a:moveTo>
                <a:lnTo>
                  <a:pt x="1029504" y="404232"/>
                </a:lnTo>
                <a:lnTo>
                  <a:pt x="1058269" y="484473"/>
                </a:lnTo>
                <a:lnTo>
                  <a:pt x="1048681" y="484473"/>
                </a:lnTo>
                <a:lnTo>
                  <a:pt x="1040101" y="463782"/>
                </a:lnTo>
                <a:lnTo>
                  <a:pt x="1004271" y="463782"/>
                </a:lnTo>
                <a:lnTo>
                  <a:pt x="997205" y="484473"/>
                </a:lnTo>
                <a:lnTo>
                  <a:pt x="987617" y="484473"/>
                </a:lnTo>
                <a:close/>
                <a:moveTo>
                  <a:pt x="933114" y="404232"/>
                </a:moveTo>
                <a:cubicBezTo>
                  <a:pt x="962910" y="404232"/>
                  <a:pt x="962910" y="404232"/>
                  <a:pt x="962910" y="404232"/>
                </a:cubicBezTo>
                <a:cubicBezTo>
                  <a:pt x="978404" y="404232"/>
                  <a:pt x="989131" y="411418"/>
                  <a:pt x="989131" y="429382"/>
                </a:cubicBezTo>
                <a:cubicBezTo>
                  <a:pt x="989131" y="446149"/>
                  <a:pt x="978404" y="454532"/>
                  <a:pt x="962910" y="454532"/>
                </a:cubicBezTo>
                <a:cubicBezTo>
                  <a:pt x="942649" y="454532"/>
                  <a:pt x="942649" y="454532"/>
                  <a:pt x="942649" y="454532"/>
                </a:cubicBezTo>
                <a:cubicBezTo>
                  <a:pt x="942649" y="484473"/>
                  <a:pt x="942649" y="484473"/>
                  <a:pt x="942649" y="484473"/>
                </a:cubicBezTo>
                <a:cubicBezTo>
                  <a:pt x="933114" y="484473"/>
                  <a:pt x="933114" y="484473"/>
                  <a:pt x="933114" y="484473"/>
                </a:cubicBezTo>
                <a:close/>
                <a:moveTo>
                  <a:pt x="843790" y="404232"/>
                </a:moveTo>
                <a:lnTo>
                  <a:pt x="853378" y="404232"/>
                </a:lnTo>
                <a:lnTo>
                  <a:pt x="878107" y="452175"/>
                </a:lnTo>
                <a:lnTo>
                  <a:pt x="903340" y="404232"/>
                </a:lnTo>
                <a:lnTo>
                  <a:pt x="912928" y="404232"/>
                </a:lnTo>
                <a:lnTo>
                  <a:pt x="912928" y="484473"/>
                </a:lnTo>
                <a:lnTo>
                  <a:pt x="903340" y="484473"/>
                </a:lnTo>
                <a:lnTo>
                  <a:pt x="903340" y="423409"/>
                </a:lnTo>
                <a:lnTo>
                  <a:pt x="878107" y="469838"/>
                </a:lnTo>
                <a:lnTo>
                  <a:pt x="853378" y="423409"/>
                </a:lnTo>
                <a:lnTo>
                  <a:pt x="853378" y="484473"/>
                </a:lnTo>
                <a:lnTo>
                  <a:pt x="843790" y="484473"/>
                </a:lnTo>
                <a:close/>
                <a:moveTo>
                  <a:pt x="579348" y="404232"/>
                </a:moveTo>
                <a:lnTo>
                  <a:pt x="630319" y="404232"/>
                </a:lnTo>
                <a:lnTo>
                  <a:pt x="630319" y="412307"/>
                </a:lnTo>
                <a:lnTo>
                  <a:pt x="588937" y="412307"/>
                </a:lnTo>
                <a:lnTo>
                  <a:pt x="588937" y="440063"/>
                </a:lnTo>
                <a:lnTo>
                  <a:pt x="625777" y="440063"/>
                </a:lnTo>
                <a:lnTo>
                  <a:pt x="625777" y="448642"/>
                </a:lnTo>
                <a:lnTo>
                  <a:pt x="588937" y="448642"/>
                </a:lnTo>
                <a:lnTo>
                  <a:pt x="588937" y="475894"/>
                </a:lnTo>
                <a:lnTo>
                  <a:pt x="630319" y="475894"/>
                </a:lnTo>
                <a:lnTo>
                  <a:pt x="630319" y="484473"/>
                </a:lnTo>
                <a:lnTo>
                  <a:pt x="579348" y="484473"/>
                </a:lnTo>
                <a:close/>
                <a:moveTo>
                  <a:pt x="499108" y="404232"/>
                </a:moveTo>
                <a:lnTo>
                  <a:pt x="508696" y="404232"/>
                </a:lnTo>
                <a:lnTo>
                  <a:pt x="508696" y="440063"/>
                </a:lnTo>
                <a:lnTo>
                  <a:pt x="549574" y="440063"/>
                </a:lnTo>
                <a:lnTo>
                  <a:pt x="549574" y="404232"/>
                </a:lnTo>
                <a:lnTo>
                  <a:pt x="559162" y="404232"/>
                </a:lnTo>
                <a:lnTo>
                  <a:pt x="559162" y="484473"/>
                </a:lnTo>
                <a:lnTo>
                  <a:pt x="549574" y="484473"/>
                </a:lnTo>
                <a:lnTo>
                  <a:pt x="549574" y="448642"/>
                </a:lnTo>
                <a:lnTo>
                  <a:pt x="508696" y="448642"/>
                </a:lnTo>
                <a:lnTo>
                  <a:pt x="508696" y="484473"/>
                </a:lnTo>
                <a:lnTo>
                  <a:pt x="499108" y="484473"/>
                </a:lnTo>
                <a:close/>
                <a:moveTo>
                  <a:pt x="272011" y="404232"/>
                </a:moveTo>
                <a:cubicBezTo>
                  <a:pt x="302900" y="404232"/>
                  <a:pt x="302900" y="404232"/>
                  <a:pt x="302900" y="404232"/>
                </a:cubicBezTo>
                <a:cubicBezTo>
                  <a:pt x="318345" y="404232"/>
                  <a:pt x="329037" y="411418"/>
                  <a:pt x="329037" y="429382"/>
                </a:cubicBezTo>
                <a:cubicBezTo>
                  <a:pt x="329037" y="442556"/>
                  <a:pt x="323097" y="449742"/>
                  <a:pt x="313592" y="452137"/>
                </a:cubicBezTo>
                <a:cubicBezTo>
                  <a:pt x="329037" y="484473"/>
                  <a:pt x="329037" y="484473"/>
                  <a:pt x="329037" y="484473"/>
                </a:cubicBezTo>
                <a:cubicBezTo>
                  <a:pt x="318345" y="484473"/>
                  <a:pt x="318345" y="484473"/>
                  <a:pt x="318345" y="484473"/>
                </a:cubicBezTo>
                <a:cubicBezTo>
                  <a:pt x="304088" y="454532"/>
                  <a:pt x="304088" y="454532"/>
                  <a:pt x="304088" y="454532"/>
                </a:cubicBezTo>
                <a:cubicBezTo>
                  <a:pt x="281515" y="454532"/>
                  <a:pt x="281515" y="454532"/>
                  <a:pt x="281515" y="454532"/>
                </a:cubicBezTo>
                <a:cubicBezTo>
                  <a:pt x="281515" y="484473"/>
                  <a:pt x="281515" y="484473"/>
                  <a:pt x="281515" y="484473"/>
                </a:cubicBezTo>
                <a:cubicBezTo>
                  <a:pt x="272011" y="484473"/>
                  <a:pt x="272011" y="484473"/>
                  <a:pt x="272011" y="484473"/>
                </a:cubicBezTo>
                <a:close/>
                <a:moveTo>
                  <a:pt x="122632" y="404232"/>
                </a:moveTo>
                <a:cubicBezTo>
                  <a:pt x="152428" y="404232"/>
                  <a:pt x="152428" y="404232"/>
                  <a:pt x="152428" y="404232"/>
                </a:cubicBezTo>
                <a:cubicBezTo>
                  <a:pt x="167922" y="404232"/>
                  <a:pt x="178649" y="411418"/>
                  <a:pt x="178649" y="429382"/>
                </a:cubicBezTo>
                <a:cubicBezTo>
                  <a:pt x="178649" y="446149"/>
                  <a:pt x="167922" y="454532"/>
                  <a:pt x="152428" y="454532"/>
                </a:cubicBezTo>
                <a:cubicBezTo>
                  <a:pt x="132167" y="454532"/>
                  <a:pt x="132167" y="454532"/>
                  <a:pt x="132167" y="454532"/>
                </a:cubicBezTo>
                <a:cubicBezTo>
                  <a:pt x="132167" y="484473"/>
                  <a:pt x="132167" y="484473"/>
                  <a:pt x="132167" y="484473"/>
                </a:cubicBezTo>
                <a:cubicBezTo>
                  <a:pt x="122632" y="484473"/>
                  <a:pt x="122632" y="484473"/>
                  <a:pt x="122632" y="484473"/>
                </a:cubicBezTo>
                <a:close/>
                <a:moveTo>
                  <a:pt x="29775" y="404232"/>
                </a:moveTo>
                <a:lnTo>
                  <a:pt x="41887" y="404232"/>
                </a:lnTo>
                <a:lnTo>
                  <a:pt x="71662" y="484473"/>
                </a:lnTo>
                <a:lnTo>
                  <a:pt x="61064" y="484473"/>
                </a:lnTo>
                <a:lnTo>
                  <a:pt x="53999" y="463782"/>
                </a:lnTo>
                <a:lnTo>
                  <a:pt x="18168" y="463782"/>
                </a:lnTo>
                <a:lnTo>
                  <a:pt x="9589" y="484473"/>
                </a:lnTo>
                <a:lnTo>
                  <a:pt x="0" y="484473"/>
                </a:lnTo>
                <a:close/>
                <a:moveTo>
                  <a:pt x="793576" y="402718"/>
                </a:moveTo>
                <a:cubicBezTo>
                  <a:pt x="812676" y="402718"/>
                  <a:pt x="824613" y="413513"/>
                  <a:pt x="824613" y="431505"/>
                </a:cubicBezTo>
                <a:lnTo>
                  <a:pt x="824613" y="456695"/>
                </a:lnTo>
                <a:cubicBezTo>
                  <a:pt x="824613" y="474687"/>
                  <a:pt x="812676" y="485482"/>
                  <a:pt x="793576" y="485482"/>
                </a:cubicBezTo>
                <a:cubicBezTo>
                  <a:pt x="774477" y="485482"/>
                  <a:pt x="762540" y="474687"/>
                  <a:pt x="762540" y="456695"/>
                </a:cubicBezTo>
                <a:cubicBezTo>
                  <a:pt x="762540" y="431505"/>
                  <a:pt x="762540" y="431505"/>
                  <a:pt x="762540" y="431505"/>
                </a:cubicBezTo>
                <a:cubicBezTo>
                  <a:pt x="762540" y="413513"/>
                  <a:pt x="774477" y="402718"/>
                  <a:pt x="793576" y="402718"/>
                </a:cubicBezTo>
                <a:close/>
                <a:moveTo>
                  <a:pt x="718476" y="402718"/>
                </a:moveTo>
                <a:cubicBezTo>
                  <a:pt x="736436" y="402718"/>
                  <a:pt x="748409" y="412314"/>
                  <a:pt x="748409" y="429107"/>
                </a:cubicBezTo>
                <a:cubicBezTo>
                  <a:pt x="748409" y="430306"/>
                  <a:pt x="748409" y="430306"/>
                  <a:pt x="748409" y="430306"/>
                </a:cubicBezTo>
                <a:cubicBezTo>
                  <a:pt x="738830" y="430306"/>
                  <a:pt x="738830" y="430306"/>
                  <a:pt x="738830" y="430306"/>
                </a:cubicBezTo>
                <a:cubicBezTo>
                  <a:pt x="738830" y="429107"/>
                  <a:pt x="738830" y="429107"/>
                  <a:pt x="738830" y="429107"/>
                </a:cubicBezTo>
                <a:cubicBezTo>
                  <a:pt x="738830" y="418311"/>
                  <a:pt x="730449" y="411114"/>
                  <a:pt x="718476" y="411114"/>
                </a:cubicBezTo>
                <a:cubicBezTo>
                  <a:pt x="704108" y="411114"/>
                  <a:pt x="696924" y="418311"/>
                  <a:pt x="696924" y="431505"/>
                </a:cubicBezTo>
                <a:cubicBezTo>
                  <a:pt x="696924" y="456695"/>
                  <a:pt x="696924" y="456695"/>
                  <a:pt x="696924" y="456695"/>
                </a:cubicBezTo>
                <a:cubicBezTo>
                  <a:pt x="696924" y="469889"/>
                  <a:pt x="704108" y="477086"/>
                  <a:pt x="718476" y="477086"/>
                </a:cubicBezTo>
                <a:cubicBezTo>
                  <a:pt x="730449" y="477086"/>
                  <a:pt x="738830" y="471088"/>
                  <a:pt x="738830" y="459093"/>
                </a:cubicBezTo>
                <a:lnTo>
                  <a:pt x="748409" y="459093"/>
                </a:lnTo>
                <a:cubicBezTo>
                  <a:pt x="748409" y="475886"/>
                  <a:pt x="736436" y="485482"/>
                  <a:pt x="718476" y="485482"/>
                </a:cubicBezTo>
                <a:cubicBezTo>
                  <a:pt x="699318" y="485482"/>
                  <a:pt x="687345" y="474687"/>
                  <a:pt x="687345" y="456695"/>
                </a:cubicBezTo>
                <a:cubicBezTo>
                  <a:pt x="687345" y="431505"/>
                  <a:pt x="687345" y="431505"/>
                  <a:pt x="687345" y="431505"/>
                </a:cubicBezTo>
                <a:cubicBezTo>
                  <a:pt x="687345" y="413513"/>
                  <a:pt x="699318" y="402718"/>
                  <a:pt x="718476" y="402718"/>
                </a:cubicBezTo>
                <a:close/>
                <a:moveTo>
                  <a:pt x="450572" y="402718"/>
                </a:moveTo>
                <a:cubicBezTo>
                  <a:pt x="469571" y="402718"/>
                  <a:pt x="481445" y="412314"/>
                  <a:pt x="481445" y="429107"/>
                </a:cubicBezTo>
                <a:cubicBezTo>
                  <a:pt x="481445" y="430306"/>
                  <a:pt x="481445" y="430306"/>
                  <a:pt x="481445" y="430306"/>
                </a:cubicBezTo>
                <a:cubicBezTo>
                  <a:pt x="471946" y="430306"/>
                  <a:pt x="471946" y="430306"/>
                  <a:pt x="471946" y="430306"/>
                </a:cubicBezTo>
                <a:cubicBezTo>
                  <a:pt x="471946" y="429107"/>
                  <a:pt x="471946" y="429107"/>
                  <a:pt x="471946" y="429107"/>
                </a:cubicBezTo>
                <a:cubicBezTo>
                  <a:pt x="471946" y="418311"/>
                  <a:pt x="463634" y="411114"/>
                  <a:pt x="450572" y="411114"/>
                </a:cubicBezTo>
                <a:cubicBezTo>
                  <a:pt x="437510" y="411114"/>
                  <a:pt x="430385" y="418311"/>
                  <a:pt x="430385" y="431505"/>
                </a:cubicBezTo>
                <a:cubicBezTo>
                  <a:pt x="430385" y="456695"/>
                  <a:pt x="430385" y="456695"/>
                  <a:pt x="430385" y="456695"/>
                </a:cubicBezTo>
                <a:cubicBezTo>
                  <a:pt x="430385" y="469889"/>
                  <a:pt x="437510" y="477086"/>
                  <a:pt x="450572" y="477086"/>
                </a:cubicBezTo>
                <a:cubicBezTo>
                  <a:pt x="463634" y="477086"/>
                  <a:pt x="471946" y="471088"/>
                  <a:pt x="471946" y="459093"/>
                </a:cubicBezTo>
                <a:lnTo>
                  <a:pt x="481445" y="459093"/>
                </a:lnTo>
                <a:cubicBezTo>
                  <a:pt x="481445" y="475886"/>
                  <a:pt x="469571" y="485482"/>
                  <a:pt x="450572" y="485482"/>
                </a:cubicBezTo>
                <a:cubicBezTo>
                  <a:pt x="431573" y="485482"/>
                  <a:pt x="420886" y="474687"/>
                  <a:pt x="420886" y="456695"/>
                </a:cubicBezTo>
                <a:cubicBezTo>
                  <a:pt x="420886" y="431505"/>
                  <a:pt x="420886" y="431505"/>
                  <a:pt x="420886" y="431505"/>
                </a:cubicBezTo>
                <a:cubicBezTo>
                  <a:pt x="420886" y="413513"/>
                  <a:pt x="431573" y="402718"/>
                  <a:pt x="450572" y="402718"/>
                </a:cubicBezTo>
                <a:close/>
                <a:moveTo>
                  <a:pt x="374364" y="402718"/>
                </a:moveTo>
                <a:cubicBezTo>
                  <a:pt x="393479" y="402718"/>
                  <a:pt x="403036" y="411114"/>
                  <a:pt x="403036" y="426708"/>
                </a:cubicBezTo>
                <a:cubicBezTo>
                  <a:pt x="403036" y="427907"/>
                  <a:pt x="403036" y="427907"/>
                  <a:pt x="403036" y="427907"/>
                </a:cubicBezTo>
                <a:cubicBezTo>
                  <a:pt x="393479" y="427907"/>
                  <a:pt x="393479" y="427907"/>
                  <a:pt x="393479" y="427907"/>
                </a:cubicBezTo>
                <a:cubicBezTo>
                  <a:pt x="393479" y="426708"/>
                  <a:pt x="393479" y="426708"/>
                  <a:pt x="393479" y="426708"/>
                </a:cubicBezTo>
                <a:cubicBezTo>
                  <a:pt x="393479" y="415912"/>
                  <a:pt x="387505" y="411114"/>
                  <a:pt x="374364" y="411114"/>
                </a:cubicBezTo>
                <a:cubicBezTo>
                  <a:pt x="362417" y="411114"/>
                  <a:pt x="356443" y="415912"/>
                  <a:pt x="356443" y="424309"/>
                </a:cubicBezTo>
                <a:cubicBezTo>
                  <a:pt x="356443" y="432705"/>
                  <a:pt x="361222" y="436303"/>
                  <a:pt x="368390" y="437503"/>
                </a:cubicBezTo>
                <a:cubicBezTo>
                  <a:pt x="383921" y="441101"/>
                  <a:pt x="383921" y="441101"/>
                  <a:pt x="383921" y="441101"/>
                </a:cubicBezTo>
                <a:cubicBezTo>
                  <a:pt x="397063" y="443500"/>
                  <a:pt x="404231" y="450697"/>
                  <a:pt x="404231" y="462692"/>
                </a:cubicBezTo>
                <a:cubicBezTo>
                  <a:pt x="404231" y="478285"/>
                  <a:pt x="393479" y="485482"/>
                  <a:pt x="374364" y="485482"/>
                </a:cubicBezTo>
                <a:cubicBezTo>
                  <a:pt x="356443" y="485482"/>
                  <a:pt x="345691" y="477086"/>
                  <a:pt x="345691" y="461492"/>
                </a:cubicBezTo>
                <a:cubicBezTo>
                  <a:pt x="345691" y="460293"/>
                  <a:pt x="345691" y="460293"/>
                  <a:pt x="345691" y="460293"/>
                </a:cubicBezTo>
                <a:cubicBezTo>
                  <a:pt x="355249" y="460293"/>
                  <a:pt x="355249" y="460293"/>
                  <a:pt x="355249" y="460293"/>
                </a:cubicBezTo>
                <a:cubicBezTo>
                  <a:pt x="355249" y="461492"/>
                  <a:pt x="355249" y="461492"/>
                  <a:pt x="355249" y="461492"/>
                </a:cubicBezTo>
                <a:cubicBezTo>
                  <a:pt x="355249" y="472288"/>
                  <a:pt x="362417" y="477086"/>
                  <a:pt x="374364" y="477086"/>
                </a:cubicBezTo>
                <a:cubicBezTo>
                  <a:pt x="387505" y="477086"/>
                  <a:pt x="393479" y="472288"/>
                  <a:pt x="393479" y="462692"/>
                </a:cubicBezTo>
                <a:cubicBezTo>
                  <a:pt x="393479" y="455495"/>
                  <a:pt x="388700" y="450697"/>
                  <a:pt x="381532" y="449498"/>
                </a:cubicBezTo>
                <a:cubicBezTo>
                  <a:pt x="366001" y="447099"/>
                  <a:pt x="366001" y="447099"/>
                  <a:pt x="366001" y="447099"/>
                </a:cubicBezTo>
                <a:cubicBezTo>
                  <a:pt x="354054" y="444700"/>
                  <a:pt x="346886" y="437503"/>
                  <a:pt x="346886" y="425508"/>
                </a:cubicBezTo>
                <a:cubicBezTo>
                  <a:pt x="346886" y="411114"/>
                  <a:pt x="356443" y="402718"/>
                  <a:pt x="374364" y="402718"/>
                </a:cubicBezTo>
                <a:close/>
                <a:moveTo>
                  <a:pt x="221798" y="402718"/>
                </a:moveTo>
                <a:cubicBezTo>
                  <a:pt x="240897" y="402718"/>
                  <a:pt x="252834" y="413513"/>
                  <a:pt x="252834" y="431505"/>
                </a:cubicBezTo>
                <a:lnTo>
                  <a:pt x="252834" y="456695"/>
                </a:lnTo>
                <a:cubicBezTo>
                  <a:pt x="252834" y="474687"/>
                  <a:pt x="240897" y="485482"/>
                  <a:pt x="221798" y="485482"/>
                </a:cubicBezTo>
                <a:cubicBezTo>
                  <a:pt x="202698" y="485482"/>
                  <a:pt x="190761" y="474687"/>
                  <a:pt x="190761" y="456695"/>
                </a:cubicBezTo>
                <a:cubicBezTo>
                  <a:pt x="190761" y="431505"/>
                  <a:pt x="190761" y="431505"/>
                  <a:pt x="190761" y="431505"/>
                </a:cubicBezTo>
                <a:cubicBezTo>
                  <a:pt x="190761" y="413513"/>
                  <a:pt x="202698" y="402718"/>
                  <a:pt x="221798" y="402718"/>
                </a:cubicBezTo>
                <a:close/>
                <a:moveTo>
                  <a:pt x="1049691" y="43905"/>
                </a:moveTo>
                <a:cubicBezTo>
                  <a:pt x="1049691" y="43905"/>
                  <a:pt x="1049691" y="43905"/>
                  <a:pt x="1049691" y="130202"/>
                </a:cubicBezTo>
                <a:cubicBezTo>
                  <a:pt x="1049691" y="130202"/>
                  <a:pt x="1049691" y="130202"/>
                  <a:pt x="1114157" y="130202"/>
                </a:cubicBezTo>
                <a:cubicBezTo>
                  <a:pt x="1147584" y="130202"/>
                  <a:pt x="1160716" y="115819"/>
                  <a:pt x="1160716" y="87054"/>
                </a:cubicBezTo>
                <a:cubicBezTo>
                  <a:pt x="1160716" y="55891"/>
                  <a:pt x="1147584" y="43905"/>
                  <a:pt x="1114157" y="43905"/>
                </a:cubicBezTo>
                <a:cubicBezTo>
                  <a:pt x="1114157" y="43905"/>
                  <a:pt x="1114157" y="43905"/>
                  <a:pt x="1049691" y="43905"/>
                </a:cubicBezTo>
                <a:close/>
                <a:moveTo>
                  <a:pt x="999729" y="0"/>
                </a:moveTo>
                <a:cubicBezTo>
                  <a:pt x="999729" y="0"/>
                  <a:pt x="999729" y="0"/>
                  <a:pt x="1115234" y="0"/>
                </a:cubicBezTo>
                <a:cubicBezTo>
                  <a:pt x="1173581" y="0"/>
                  <a:pt x="1211686" y="23905"/>
                  <a:pt x="1211686" y="87253"/>
                </a:cubicBezTo>
                <a:cubicBezTo>
                  <a:pt x="1211686" y="145820"/>
                  <a:pt x="1174772" y="173311"/>
                  <a:pt x="1115234" y="173311"/>
                </a:cubicBezTo>
                <a:cubicBezTo>
                  <a:pt x="1115234" y="173311"/>
                  <a:pt x="1115234" y="173311"/>
                  <a:pt x="1049741" y="173311"/>
                </a:cubicBezTo>
                <a:cubicBezTo>
                  <a:pt x="1049741" y="173311"/>
                  <a:pt x="1049741" y="173311"/>
                  <a:pt x="1049741" y="295226"/>
                </a:cubicBezTo>
                <a:cubicBezTo>
                  <a:pt x="1049741" y="295226"/>
                  <a:pt x="1049741" y="295226"/>
                  <a:pt x="999729" y="295226"/>
                </a:cubicBezTo>
                <a:cubicBezTo>
                  <a:pt x="999729" y="295226"/>
                  <a:pt x="999729" y="295226"/>
                  <a:pt x="999729" y="0"/>
                </a:cubicBezTo>
                <a:close/>
                <a:moveTo>
                  <a:pt x="717625" y="0"/>
                </a:moveTo>
                <a:lnTo>
                  <a:pt x="767586" y="0"/>
                </a:lnTo>
                <a:lnTo>
                  <a:pt x="767586" y="129193"/>
                </a:lnTo>
                <a:lnTo>
                  <a:pt x="893751" y="129193"/>
                </a:lnTo>
                <a:lnTo>
                  <a:pt x="893751" y="0"/>
                </a:lnTo>
                <a:lnTo>
                  <a:pt x="943712" y="0"/>
                </a:lnTo>
                <a:lnTo>
                  <a:pt x="943712" y="295226"/>
                </a:lnTo>
                <a:lnTo>
                  <a:pt x="893751" y="295226"/>
                </a:lnTo>
                <a:lnTo>
                  <a:pt x="893751" y="173098"/>
                </a:lnTo>
                <a:lnTo>
                  <a:pt x="767586" y="173098"/>
                </a:lnTo>
                <a:lnTo>
                  <a:pt x="767586" y="295226"/>
                </a:lnTo>
                <a:lnTo>
                  <a:pt x="717625" y="295226"/>
                </a:lnTo>
                <a:close/>
                <a:moveTo>
                  <a:pt x="401708" y="0"/>
                </a:moveTo>
                <a:lnTo>
                  <a:pt x="448137" y="0"/>
                </a:lnTo>
                <a:lnTo>
                  <a:pt x="531405" y="135249"/>
                </a:lnTo>
                <a:lnTo>
                  <a:pt x="616188" y="0"/>
                </a:lnTo>
                <a:lnTo>
                  <a:pt x="661607" y="0"/>
                </a:lnTo>
                <a:lnTo>
                  <a:pt x="661607" y="295226"/>
                </a:lnTo>
                <a:lnTo>
                  <a:pt x="612655" y="295226"/>
                </a:lnTo>
                <a:lnTo>
                  <a:pt x="612655" y="93362"/>
                </a:lnTo>
                <a:lnTo>
                  <a:pt x="531405" y="221041"/>
                </a:lnTo>
                <a:lnTo>
                  <a:pt x="451669" y="93362"/>
                </a:lnTo>
                <a:lnTo>
                  <a:pt x="451669" y="295226"/>
                </a:lnTo>
                <a:lnTo>
                  <a:pt x="401708" y="295226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301" name="SmartArt-Platzhalter 300">
            <a:extLst>
              <a:ext uri="{FF2B5EF4-FFF2-40B4-BE49-F238E27FC236}">
                <a16:creationId xmlns:a16="http://schemas.microsoft.com/office/drawing/2014/main" id="{75DC54DC-758D-42F2-99F9-BAD25F1F1C23}"/>
              </a:ext>
            </a:extLst>
          </p:cNvPr>
          <p:cNvSpPr>
            <a:spLocks noGrp="1"/>
          </p:cNvSpPr>
          <p:nvPr>
            <p:ph type="dgm" sz="quarter" idx="16"/>
          </p:nvPr>
        </p:nvSpPr>
        <p:spPr bwMode="gray">
          <a:xfrm>
            <a:off x="10567565" y="488304"/>
            <a:ext cx="291692" cy="295226"/>
          </a:xfrm>
          <a:custGeom>
            <a:avLst/>
            <a:gdLst>
              <a:gd name="connsiteX0" fmla="*/ 117585 w 291692"/>
              <a:gd name="connsiteY0" fmla="*/ 163510 h 295226"/>
              <a:gd name="connsiteX1" fmla="*/ 166537 w 291692"/>
              <a:gd name="connsiteY1" fmla="*/ 163510 h 295226"/>
              <a:gd name="connsiteX2" fmla="*/ 145341 w 291692"/>
              <a:gd name="connsiteY2" fmla="*/ 295226 h 295226"/>
              <a:gd name="connsiteX3" fmla="*/ 96389 w 291692"/>
              <a:gd name="connsiteY3" fmla="*/ 295226 h 295226"/>
              <a:gd name="connsiteX4" fmla="*/ 242740 w 291692"/>
              <a:gd name="connsiteY4" fmla="*/ 0 h 295226"/>
              <a:gd name="connsiteX5" fmla="*/ 291692 w 291692"/>
              <a:gd name="connsiteY5" fmla="*/ 0 h 295226"/>
              <a:gd name="connsiteX6" fmla="*/ 291692 w 291692"/>
              <a:gd name="connsiteY6" fmla="*/ 295226 h 295226"/>
              <a:gd name="connsiteX7" fmla="*/ 242740 w 291692"/>
              <a:gd name="connsiteY7" fmla="*/ 295226 h 295226"/>
              <a:gd name="connsiteX8" fmla="*/ 145341 w 291692"/>
              <a:gd name="connsiteY8" fmla="*/ 0 h 295226"/>
              <a:gd name="connsiteX9" fmla="*/ 193788 w 291692"/>
              <a:gd name="connsiteY9" fmla="*/ 0 h 295226"/>
              <a:gd name="connsiteX10" fmla="*/ 175116 w 291692"/>
              <a:gd name="connsiteY10" fmla="*/ 114558 h 295226"/>
              <a:gd name="connsiteX11" fmla="*/ 126164 w 291692"/>
              <a:gd name="connsiteY11" fmla="*/ 114558 h 295226"/>
              <a:gd name="connsiteX12" fmla="*/ 0 w 291692"/>
              <a:gd name="connsiteY12" fmla="*/ 0 h 295226"/>
              <a:gd name="connsiteX13" fmla="*/ 48447 w 291692"/>
              <a:gd name="connsiteY13" fmla="*/ 0 h 295226"/>
              <a:gd name="connsiteX14" fmla="*/ 48447 w 291692"/>
              <a:gd name="connsiteY14" fmla="*/ 295226 h 295226"/>
              <a:gd name="connsiteX15" fmla="*/ 0 w 291692"/>
              <a:gd name="connsiteY15" fmla="*/ 295226 h 2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91692" h="295226">
                <a:moveTo>
                  <a:pt x="117585" y="163510"/>
                </a:moveTo>
                <a:lnTo>
                  <a:pt x="166537" y="163510"/>
                </a:lnTo>
                <a:lnTo>
                  <a:pt x="145341" y="295226"/>
                </a:lnTo>
                <a:lnTo>
                  <a:pt x="96389" y="295226"/>
                </a:lnTo>
                <a:close/>
                <a:moveTo>
                  <a:pt x="242740" y="0"/>
                </a:moveTo>
                <a:lnTo>
                  <a:pt x="291692" y="0"/>
                </a:lnTo>
                <a:lnTo>
                  <a:pt x="291692" y="295226"/>
                </a:lnTo>
                <a:lnTo>
                  <a:pt x="242740" y="295226"/>
                </a:lnTo>
                <a:close/>
                <a:moveTo>
                  <a:pt x="145341" y="0"/>
                </a:moveTo>
                <a:lnTo>
                  <a:pt x="193788" y="0"/>
                </a:lnTo>
                <a:lnTo>
                  <a:pt x="175116" y="114558"/>
                </a:lnTo>
                <a:lnTo>
                  <a:pt x="126164" y="114558"/>
                </a:lnTo>
                <a:close/>
                <a:moveTo>
                  <a:pt x="0" y="0"/>
                </a:moveTo>
                <a:lnTo>
                  <a:pt x="48447" y="0"/>
                </a:lnTo>
                <a:lnTo>
                  <a:pt x="48447" y="295226"/>
                </a:lnTo>
                <a:lnTo>
                  <a:pt x="0" y="29522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0138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+ Overlay link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8FE2F768-31B7-4114-8D4D-032E4ED46F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18" name="SmartArt-Platzhalter 17">
            <a:extLst>
              <a:ext uri="{FF2B5EF4-FFF2-40B4-BE49-F238E27FC236}">
                <a16:creationId xmlns:a16="http://schemas.microsoft.com/office/drawing/2014/main" id="{B2B70539-C8F6-44C1-A5F3-638B7BFCD39B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 bwMode="gray">
          <a:xfrm>
            <a:off x="1" y="0"/>
            <a:ext cx="5951539" cy="6858000"/>
          </a:xfrm>
          <a:custGeom>
            <a:avLst/>
            <a:gdLst>
              <a:gd name="connsiteX0" fmla="*/ 0 w 5951539"/>
              <a:gd name="connsiteY0" fmla="*/ 0 h 6858000"/>
              <a:gd name="connsiteX1" fmla="*/ 3481 w 5951539"/>
              <a:gd name="connsiteY1" fmla="*/ 0 h 6858000"/>
              <a:gd name="connsiteX2" fmla="*/ 534804 w 5951539"/>
              <a:gd name="connsiteY2" fmla="*/ 0 h 6858000"/>
              <a:gd name="connsiteX3" fmla="*/ 818694 w 5951539"/>
              <a:gd name="connsiteY3" fmla="*/ 0 h 6858000"/>
              <a:gd name="connsiteX4" fmla="*/ 1659244 w 5951539"/>
              <a:gd name="connsiteY4" fmla="*/ 0 h 6858000"/>
              <a:gd name="connsiteX5" fmla="*/ 1814039 w 5951539"/>
              <a:gd name="connsiteY5" fmla="*/ 0 h 6858000"/>
              <a:gd name="connsiteX6" fmla="*/ 1817520 w 5951539"/>
              <a:gd name="connsiteY6" fmla="*/ 0 h 6858000"/>
              <a:gd name="connsiteX7" fmla="*/ 2348843 w 5951539"/>
              <a:gd name="connsiteY7" fmla="*/ 0 h 6858000"/>
              <a:gd name="connsiteX8" fmla="*/ 2359603 w 5951539"/>
              <a:gd name="connsiteY8" fmla="*/ 0 h 6858000"/>
              <a:gd name="connsiteX9" fmla="*/ 2474457 w 5951539"/>
              <a:gd name="connsiteY9" fmla="*/ 0 h 6858000"/>
              <a:gd name="connsiteX10" fmla="*/ 2632733 w 5951539"/>
              <a:gd name="connsiteY10" fmla="*/ 0 h 6858000"/>
              <a:gd name="connsiteX11" fmla="*/ 3174815 w 5951539"/>
              <a:gd name="connsiteY11" fmla="*/ 0 h 6858000"/>
              <a:gd name="connsiteX12" fmla="*/ 3473283 w 5951539"/>
              <a:gd name="connsiteY12" fmla="*/ 0 h 6858000"/>
              <a:gd name="connsiteX13" fmla="*/ 4015365 w 5951539"/>
              <a:gd name="connsiteY13" fmla="*/ 0 h 6858000"/>
              <a:gd name="connsiteX14" fmla="*/ 4173642 w 5951539"/>
              <a:gd name="connsiteY14" fmla="*/ 0 h 6858000"/>
              <a:gd name="connsiteX15" fmla="*/ 4288496 w 5951539"/>
              <a:gd name="connsiteY15" fmla="*/ 0 h 6858000"/>
              <a:gd name="connsiteX16" fmla="*/ 4299255 w 5951539"/>
              <a:gd name="connsiteY16" fmla="*/ 0 h 6858000"/>
              <a:gd name="connsiteX17" fmla="*/ 4830578 w 5951539"/>
              <a:gd name="connsiteY17" fmla="*/ 0 h 6858000"/>
              <a:gd name="connsiteX18" fmla="*/ 4988854 w 5951539"/>
              <a:gd name="connsiteY18" fmla="*/ 0 h 6858000"/>
              <a:gd name="connsiteX19" fmla="*/ 5114468 w 5951539"/>
              <a:gd name="connsiteY19" fmla="*/ 0 h 6858000"/>
              <a:gd name="connsiteX20" fmla="*/ 5829404 w 5951539"/>
              <a:gd name="connsiteY20" fmla="*/ 0 h 6858000"/>
              <a:gd name="connsiteX21" fmla="*/ 5951539 w 5951539"/>
              <a:gd name="connsiteY21" fmla="*/ 0 h 6858000"/>
              <a:gd name="connsiteX22" fmla="*/ 4751688 w 5951539"/>
              <a:gd name="connsiteY22" fmla="*/ 6858000 h 6858000"/>
              <a:gd name="connsiteX23" fmla="*/ 4629555 w 5951539"/>
              <a:gd name="connsiteY23" fmla="*/ 6858000 h 6858000"/>
              <a:gd name="connsiteX24" fmla="*/ 4288496 w 5951539"/>
              <a:gd name="connsiteY24" fmla="*/ 6858000 h 6858000"/>
              <a:gd name="connsiteX25" fmla="*/ 3914618 w 5951539"/>
              <a:gd name="connsiteY25" fmla="*/ 6858000 h 6858000"/>
              <a:gd name="connsiteX26" fmla="*/ 3789004 w 5951539"/>
              <a:gd name="connsiteY26" fmla="*/ 6858000 h 6858000"/>
              <a:gd name="connsiteX27" fmla="*/ 3630729 w 5951539"/>
              <a:gd name="connsiteY27" fmla="*/ 6858000 h 6858000"/>
              <a:gd name="connsiteX28" fmla="*/ 3473283 w 5951539"/>
              <a:gd name="connsiteY28" fmla="*/ 6858000 h 6858000"/>
              <a:gd name="connsiteX29" fmla="*/ 3099406 w 5951539"/>
              <a:gd name="connsiteY29" fmla="*/ 6858000 h 6858000"/>
              <a:gd name="connsiteX30" fmla="*/ 2973791 w 5951539"/>
              <a:gd name="connsiteY30" fmla="*/ 6858000 h 6858000"/>
              <a:gd name="connsiteX31" fmla="*/ 2815515 w 5951539"/>
              <a:gd name="connsiteY31" fmla="*/ 6858000 h 6858000"/>
              <a:gd name="connsiteX32" fmla="*/ 2632733 w 5951539"/>
              <a:gd name="connsiteY32" fmla="*/ 6858000 h 6858000"/>
              <a:gd name="connsiteX33" fmla="*/ 2474457 w 5951539"/>
              <a:gd name="connsiteY33" fmla="*/ 6858000 h 6858000"/>
              <a:gd name="connsiteX34" fmla="*/ 2348843 w 5951539"/>
              <a:gd name="connsiteY34" fmla="*/ 6858000 h 6858000"/>
              <a:gd name="connsiteX35" fmla="*/ 1974965 w 5951539"/>
              <a:gd name="connsiteY35" fmla="*/ 6858000 h 6858000"/>
              <a:gd name="connsiteX36" fmla="*/ 1817520 w 5951539"/>
              <a:gd name="connsiteY36" fmla="*/ 6858000 h 6858000"/>
              <a:gd name="connsiteX37" fmla="*/ 1814039 w 5951539"/>
              <a:gd name="connsiteY37" fmla="*/ 6858000 h 6858000"/>
              <a:gd name="connsiteX38" fmla="*/ 1659244 w 5951539"/>
              <a:gd name="connsiteY38" fmla="*/ 6858000 h 6858000"/>
              <a:gd name="connsiteX39" fmla="*/ 1159752 w 5951539"/>
              <a:gd name="connsiteY39" fmla="*/ 6858000 h 6858000"/>
              <a:gd name="connsiteX40" fmla="*/ 818694 w 5951539"/>
              <a:gd name="connsiteY40" fmla="*/ 6858000 h 6858000"/>
              <a:gd name="connsiteX41" fmla="*/ 534804 w 5951539"/>
              <a:gd name="connsiteY41" fmla="*/ 6858000 h 6858000"/>
              <a:gd name="connsiteX42" fmla="*/ 3481 w 5951539"/>
              <a:gd name="connsiteY42" fmla="*/ 6858000 h 6858000"/>
              <a:gd name="connsiteX43" fmla="*/ 0 w 5951539"/>
              <a:gd name="connsiteY4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951539" h="6858000">
                <a:moveTo>
                  <a:pt x="0" y="0"/>
                </a:moveTo>
                <a:lnTo>
                  <a:pt x="3481" y="0"/>
                </a:lnTo>
                <a:lnTo>
                  <a:pt x="534804" y="0"/>
                </a:lnTo>
                <a:lnTo>
                  <a:pt x="818694" y="0"/>
                </a:lnTo>
                <a:lnTo>
                  <a:pt x="1659244" y="0"/>
                </a:lnTo>
                <a:lnTo>
                  <a:pt x="1814039" y="0"/>
                </a:lnTo>
                <a:lnTo>
                  <a:pt x="1817520" y="0"/>
                </a:lnTo>
                <a:lnTo>
                  <a:pt x="2348843" y="0"/>
                </a:lnTo>
                <a:lnTo>
                  <a:pt x="2359603" y="0"/>
                </a:lnTo>
                <a:lnTo>
                  <a:pt x="2474457" y="0"/>
                </a:lnTo>
                <a:lnTo>
                  <a:pt x="2632733" y="0"/>
                </a:lnTo>
                <a:lnTo>
                  <a:pt x="3174815" y="0"/>
                </a:lnTo>
                <a:lnTo>
                  <a:pt x="3473283" y="0"/>
                </a:lnTo>
                <a:lnTo>
                  <a:pt x="4015365" y="0"/>
                </a:lnTo>
                <a:lnTo>
                  <a:pt x="4173642" y="0"/>
                </a:lnTo>
                <a:lnTo>
                  <a:pt x="4288496" y="0"/>
                </a:lnTo>
                <a:lnTo>
                  <a:pt x="4299255" y="0"/>
                </a:lnTo>
                <a:lnTo>
                  <a:pt x="4830578" y="0"/>
                </a:lnTo>
                <a:lnTo>
                  <a:pt x="4988854" y="0"/>
                </a:lnTo>
                <a:lnTo>
                  <a:pt x="5114468" y="0"/>
                </a:lnTo>
                <a:lnTo>
                  <a:pt x="5829404" y="0"/>
                </a:lnTo>
                <a:lnTo>
                  <a:pt x="5951539" y="0"/>
                </a:lnTo>
                <a:lnTo>
                  <a:pt x="4751688" y="6858000"/>
                </a:lnTo>
                <a:lnTo>
                  <a:pt x="4629555" y="6858000"/>
                </a:lnTo>
                <a:lnTo>
                  <a:pt x="4288496" y="6858000"/>
                </a:lnTo>
                <a:lnTo>
                  <a:pt x="3914618" y="6858000"/>
                </a:lnTo>
                <a:lnTo>
                  <a:pt x="3789004" y="6858000"/>
                </a:lnTo>
                <a:lnTo>
                  <a:pt x="3630729" y="6858000"/>
                </a:lnTo>
                <a:lnTo>
                  <a:pt x="3473283" y="6858000"/>
                </a:lnTo>
                <a:lnTo>
                  <a:pt x="3099406" y="6858000"/>
                </a:lnTo>
                <a:lnTo>
                  <a:pt x="2973791" y="6858000"/>
                </a:lnTo>
                <a:lnTo>
                  <a:pt x="2815515" y="6858000"/>
                </a:lnTo>
                <a:lnTo>
                  <a:pt x="2632733" y="6858000"/>
                </a:lnTo>
                <a:lnTo>
                  <a:pt x="2474457" y="6858000"/>
                </a:lnTo>
                <a:lnTo>
                  <a:pt x="2348843" y="6858000"/>
                </a:lnTo>
                <a:lnTo>
                  <a:pt x="1974965" y="6858000"/>
                </a:lnTo>
                <a:lnTo>
                  <a:pt x="1817520" y="6858000"/>
                </a:lnTo>
                <a:lnTo>
                  <a:pt x="1814039" y="6858000"/>
                </a:lnTo>
                <a:lnTo>
                  <a:pt x="1659244" y="6858000"/>
                </a:lnTo>
                <a:lnTo>
                  <a:pt x="1159752" y="6858000"/>
                </a:lnTo>
                <a:lnTo>
                  <a:pt x="818694" y="6858000"/>
                </a:lnTo>
                <a:lnTo>
                  <a:pt x="534804" y="6858000"/>
                </a:lnTo>
                <a:lnTo>
                  <a:pt x="34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21951E-D998-406D-8DA3-CD1E5D0FB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55C038-ADBC-4355-B701-93788356F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EEAC42-F94F-4D9A-8CB5-ED46D3DC3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7" name="SmartArt-Platzhalter 296">
            <a:extLst>
              <a:ext uri="{FF2B5EF4-FFF2-40B4-BE49-F238E27FC236}">
                <a16:creationId xmlns:a16="http://schemas.microsoft.com/office/drawing/2014/main" id="{5A909AA4-7409-4340-B373-87656CD8C6E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0566051" y="488304"/>
            <a:ext cx="1213200" cy="485482"/>
          </a:xfrm>
          <a:custGeom>
            <a:avLst/>
            <a:gdLst>
              <a:gd name="connsiteX0" fmla="*/ 1022440 w 1213200"/>
              <a:gd name="connsiteY0" fmla="*/ 413820 h 485482"/>
              <a:gd name="connsiteX1" fmla="*/ 1006795 w 1213200"/>
              <a:gd name="connsiteY1" fmla="*/ 455707 h 485482"/>
              <a:gd name="connsiteX2" fmla="*/ 1038084 w 1213200"/>
              <a:gd name="connsiteY2" fmla="*/ 455707 h 485482"/>
              <a:gd name="connsiteX3" fmla="*/ 35830 w 1213200"/>
              <a:gd name="connsiteY3" fmla="*/ 413820 h 485482"/>
              <a:gd name="connsiteX4" fmla="*/ 20186 w 1213200"/>
              <a:gd name="connsiteY4" fmla="*/ 455707 h 485482"/>
              <a:gd name="connsiteX5" fmla="*/ 51475 w 1213200"/>
              <a:gd name="connsiteY5" fmla="*/ 455707 h 485482"/>
              <a:gd name="connsiteX6" fmla="*/ 942703 w 1213200"/>
              <a:gd name="connsiteY6" fmla="*/ 412306 h 485482"/>
              <a:gd name="connsiteX7" fmla="*/ 942703 w 1213200"/>
              <a:gd name="connsiteY7" fmla="*/ 446118 h 485482"/>
              <a:gd name="connsiteX8" fmla="*/ 962906 w 1213200"/>
              <a:gd name="connsiteY8" fmla="*/ 446118 h 485482"/>
              <a:gd name="connsiteX9" fmla="*/ 979543 w 1213200"/>
              <a:gd name="connsiteY9" fmla="*/ 429212 h 485482"/>
              <a:gd name="connsiteX10" fmla="*/ 962906 w 1213200"/>
              <a:gd name="connsiteY10" fmla="*/ 412306 h 485482"/>
              <a:gd name="connsiteX11" fmla="*/ 942703 w 1213200"/>
              <a:gd name="connsiteY11" fmla="*/ 412306 h 485482"/>
              <a:gd name="connsiteX12" fmla="*/ 281095 w 1213200"/>
              <a:gd name="connsiteY12" fmla="*/ 412306 h 485482"/>
              <a:gd name="connsiteX13" fmla="*/ 281095 w 1213200"/>
              <a:gd name="connsiteY13" fmla="*/ 446118 h 485482"/>
              <a:gd name="connsiteX14" fmla="*/ 302669 w 1213200"/>
              <a:gd name="connsiteY14" fmla="*/ 446118 h 485482"/>
              <a:gd name="connsiteX15" fmla="*/ 319449 w 1213200"/>
              <a:gd name="connsiteY15" fmla="*/ 429212 h 485482"/>
              <a:gd name="connsiteX16" fmla="*/ 302669 w 1213200"/>
              <a:gd name="connsiteY16" fmla="*/ 412306 h 485482"/>
              <a:gd name="connsiteX17" fmla="*/ 281095 w 1213200"/>
              <a:gd name="connsiteY17" fmla="*/ 412306 h 485482"/>
              <a:gd name="connsiteX18" fmla="*/ 132221 w 1213200"/>
              <a:gd name="connsiteY18" fmla="*/ 412306 h 485482"/>
              <a:gd name="connsiteX19" fmla="*/ 132221 w 1213200"/>
              <a:gd name="connsiteY19" fmla="*/ 446118 h 485482"/>
              <a:gd name="connsiteX20" fmla="*/ 152525 w 1213200"/>
              <a:gd name="connsiteY20" fmla="*/ 446118 h 485482"/>
              <a:gd name="connsiteX21" fmla="*/ 168052 w 1213200"/>
              <a:gd name="connsiteY21" fmla="*/ 429212 h 485482"/>
              <a:gd name="connsiteX22" fmla="*/ 152525 w 1213200"/>
              <a:gd name="connsiteY22" fmla="*/ 412306 h 485482"/>
              <a:gd name="connsiteX23" fmla="*/ 132221 w 1213200"/>
              <a:gd name="connsiteY23" fmla="*/ 412306 h 485482"/>
              <a:gd name="connsiteX24" fmla="*/ 793576 w 1213200"/>
              <a:gd name="connsiteY24" fmla="*/ 411297 h 485482"/>
              <a:gd name="connsiteX25" fmla="*/ 772128 w 1213200"/>
              <a:gd name="connsiteY25" fmla="*/ 431575 h 485482"/>
              <a:gd name="connsiteX26" fmla="*/ 772128 w 1213200"/>
              <a:gd name="connsiteY26" fmla="*/ 456625 h 485482"/>
              <a:gd name="connsiteX27" fmla="*/ 793576 w 1213200"/>
              <a:gd name="connsiteY27" fmla="*/ 476903 h 485482"/>
              <a:gd name="connsiteX28" fmla="*/ 815024 w 1213200"/>
              <a:gd name="connsiteY28" fmla="*/ 456625 h 485482"/>
              <a:gd name="connsiteX29" fmla="*/ 815024 w 1213200"/>
              <a:gd name="connsiteY29" fmla="*/ 431575 h 485482"/>
              <a:gd name="connsiteX30" fmla="*/ 793576 w 1213200"/>
              <a:gd name="connsiteY30" fmla="*/ 411297 h 485482"/>
              <a:gd name="connsiteX31" fmla="*/ 221798 w 1213200"/>
              <a:gd name="connsiteY31" fmla="*/ 411297 h 485482"/>
              <a:gd name="connsiteX32" fmla="*/ 200350 w 1213200"/>
              <a:gd name="connsiteY32" fmla="*/ 431575 h 485482"/>
              <a:gd name="connsiteX33" fmla="*/ 200350 w 1213200"/>
              <a:gd name="connsiteY33" fmla="*/ 456625 h 485482"/>
              <a:gd name="connsiteX34" fmla="*/ 221798 w 1213200"/>
              <a:gd name="connsiteY34" fmla="*/ 476903 h 485482"/>
              <a:gd name="connsiteX35" fmla="*/ 243246 w 1213200"/>
              <a:gd name="connsiteY35" fmla="*/ 456625 h 485482"/>
              <a:gd name="connsiteX36" fmla="*/ 243246 w 1213200"/>
              <a:gd name="connsiteY36" fmla="*/ 431575 h 485482"/>
              <a:gd name="connsiteX37" fmla="*/ 221798 w 1213200"/>
              <a:gd name="connsiteY37" fmla="*/ 411297 h 485482"/>
              <a:gd name="connsiteX38" fmla="*/ 1144062 w 1213200"/>
              <a:gd name="connsiteY38" fmla="*/ 404232 h 485482"/>
              <a:gd name="connsiteX39" fmla="*/ 1154660 w 1213200"/>
              <a:gd name="connsiteY39" fmla="*/ 404232 h 485482"/>
              <a:gd name="connsiteX40" fmla="*/ 1178379 w 1213200"/>
              <a:gd name="connsiteY40" fmla="*/ 443596 h 485482"/>
              <a:gd name="connsiteX41" fmla="*/ 1201088 w 1213200"/>
              <a:gd name="connsiteY41" fmla="*/ 404232 h 485482"/>
              <a:gd name="connsiteX42" fmla="*/ 1213200 w 1213200"/>
              <a:gd name="connsiteY42" fmla="*/ 404232 h 485482"/>
              <a:gd name="connsiteX43" fmla="*/ 1183425 w 1213200"/>
              <a:gd name="connsiteY43" fmla="*/ 453184 h 485482"/>
              <a:gd name="connsiteX44" fmla="*/ 1183425 w 1213200"/>
              <a:gd name="connsiteY44" fmla="*/ 484473 h 485482"/>
              <a:gd name="connsiteX45" fmla="*/ 1173837 w 1213200"/>
              <a:gd name="connsiteY45" fmla="*/ 484473 h 485482"/>
              <a:gd name="connsiteX46" fmla="*/ 1173837 w 1213200"/>
              <a:gd name="connsiteY46" fmla="*/ 453184 h 485482"/>
              <a:gd name="connsiteX47" fmla="*/ 1071391 w 1213200"/>
              <a:gd name="connsiteY47" fmla="*/ 404232 h 485482"/>
              <a:gd name="connsiteX48" fmla="*/ 1079466 w 1213200"/>
              <a:gd name="connsiteY48" fmla="*/ 404232 h 485482"/>
              <a:gd name="connsiteX49" fmla="*/ 1121352 w 1213200"/>
              <a:gd name="connsiteY49" fmla="*/ 467315 h 485482"/>
              <a:gd name="connsiteX50" fmla="*/ 1121352 w 1213200"/>
              <a:gd name="connsiteY50" fmla="*/ 404232 h 485482"/>
              <a:gd name="connsiteX51" fmla="*/ 1130941 w 1213200"/>
              <a:gd name="connsiteY51" fmla="*/ 404232 h 485482"/>
              <a:gd name="connsiteX52" fmla="*/ 1130941 w 1213200"/>
              <a:gd name="connsiteY52" fmla="*/ 484473 h 485482"/>
              <a:gd name="connsiteX53" fmla="*/ 1122362 w 1213200"/>
              <a:gd name="connsiteY53" fmla="*/ 484473 h 485482"/>
              <a:gd name="connsiteX54" fmla="*/ 1080980 w 1213200"/>
              <a:gd name="connsiteY54" fmla="*/ 420886 h 485482"/>
              <a:gd name="connsiteX55" fmla="*/ 1080980 w 1213200"/>
              <a:gd name="connsiteY55" fmla="*/ 484473 h 485482"/>
              <a:gd name="connsiteX56" fmla="*/ 1071391 w 1213200"/>
              <a:gd name="connsiteY56" fmla="*/ 484473 h 485482"/>
              <a:gd name="connsiteX57" fmla="*/ 1017392 w 1213200"/>
              <a:gd name="connsiteY57" fmla="*/ 404232 h 485482"/>
              <a:gd name="connsiteX58" fmla="*/ 1029504 w 1213200"/>
              <a:gd name="connsiteY58" fmla="*/ 404232 h 485482"/>
              <a:gd name="connsiteX59" fmla="*/ 1058269 w 1213200"/>
              <a:gd name="connsiteY59" fmla="*/ 484473 h 485482"/>
              <a:gd name="connsiteX60" fmla="*/ 1048681 w 1213200"/>
              <a:gd name="connsiteY60" fmla="*/ 484473 h 485482"/>
              <a:gd name="connsiteX61" fmla="*/ 1040101 w 1213200"/>
              <a:gd name="connsiteY61" fmla="*/ 463782 h 485482"/>
              <a:gd name="connsiteX62" fmla="*/ 1004271 w 1213200"/>
              <a:gd name="connsiteY62" fmla="*/ 463782 h 485482"/>
              <a:gd name="connsiteX63" fmla="*/ 997205 w 1213200"/>
              <a:gd name="connsiteY63" fmla="*/ 484473 h 485482"/>
              <a:gd name="connsiteX64" fmla="*/ 987617 w 1213200"/>
              <a:gd name="connsiteY64" fmla="*/ 484473 h 485482"/>
              <a:gd name="connsiteX65" fmla="*/ 933114 w 1213200"/>
              <a:gd name="connsiteY65" fmla="*/ 404232 h 485482"/>
              <a:gd name="connsiteX66" fmla="*/ 962910 w 1213200"/>
              <a:gd name="connsiteY66" fmla="*/ 404232 h 485482"/>
              <a:gd name="connsiteX67" fmla="*/ 989131 w 1213200"/>
              <a:gd name="connsiteY67" fmla="*/ 429382 h 485482"/>
              <a:gd name="connsiteX68" fmla="*/ 962910 w 1213200"/>
              <a:gd name="connsiteY68" fmla="*/ 454532 h 485482"/>
              <a:gd name="connsiteX69" fmla="*/ 942649 w 1213200"/>
              <a:gd name="connsiteY69" fmla="*/ 454532 h 485482"/>
              <a:gd name="connsiteX70" fmla="*/ 942649 w 1213200"/>
              <a:gd name="connsiteY70" fmla="*/ 484473 h 485482"/>
              <a:gd name="connsiteX71" fmla="*/ 933114 w 1213200"/>
              <a:gd name="connsiteY71" fmla="*/ 484473 h 485482"/>
              <a:gd name="connsiteX72" fmla="*/ 843790 w 1213200"/>
              <a:gd name="connsiteY72" fmla="*/ 404232 h 485482"/>
              <a:gd name="connsiteX73" fmla="*/ 853378 w 1213200"/>
              <a:gd name="connsiteY73" fmla="*/ 404232 h 485482"/>
              <a:gd name="connsiteX74" fmla="*/ 878107 w 1213200"/>
              <a:gd name="connsiteY74" fmla="*/ 452175 h 485482"/>
              <a:gd name="connsiteX75" fmla="*/ 903340 w 1213200"/>
              <a:gd name="connsiteY75" fmla="*/ 404232 h 485482"/>
              <a:gd name="connsiteX76" fmla="*/ 912928 w 1213200"/>
              <a:gd name="connsiteY76" fmla="*/ 404232 h 485482"/>
              <a:gd name="connsiteX77" fmla="*/ 912928 w 1213200"/>
              <a:gd name="connsiteY77" fmla="*/ 484473 h 485482"/>
              <a:gd name="connsiteX78" fmla="*/ 903340 w 1213200"/>
              <a:gd name="connsiteY78" fmla="*/ 484473 h 485482"/>
              <a:gd name="connsiteX79" fmla="*/ 903340 w 1213200"/>
              <a:gd name="connsiteY79" fmla="*/ 423409 h 485482"/>
              <a:gd name="connsiteX80" fmla="*/ 878107 w 1213200"/>
              <a:gd name="connsiteY80" fmla="*/ 469838 h 485482"/>
              <a:gd name="connsiteX81" fmla="*/ 853378 w 1213200"/>
              <a:gd name="connsiteY81" fmla="*/ 423409 h 485482"/>
              <a:gd name="connsiteX82" fmla="*/ 853378 w 1213200"/>
              <a:gd name="connsiteY82" fmla="*/ 484473 h 485482"/>
              <a:gd name="connsiteX83" fmla="*/ 843790 w 1213200"/>
              <a:gd name="connsiteY83" fmla="*/ 484473 h 485482"/>
              <a:gd name="connsiteX84" fmla="*/ 579348 w 1213200"/>
              <a:gd name="connsiteY84" fmla="*/ 404232 h 485482"/>
              <a:gd name="connsiteX85" fmla="*/ 630319 w 1213200"/>
              <a:gd name="connsiteY85" fmla="*/ 404232 h 485482"/>
              <a:gd name="connsiteX86" fmla="*/ 630319 w 1213200"/>
              <a:gd name="connsiteY86" fmla="*/ 412307 h 485482"/>
              <a:gd name="connsiteX87" fmla="*/ 588937 w 1213200"/>
              <a:gd name="connsiteY87" fmla="*/ 412307 h 485482"/>
              <a:gd name="connsiteX88" fmla="*/ 588937 w 1213200"/>
              <a:gd name="connsiteY88" fmla="*/ 440063 h 485482"/>
              <a:gd name="connsiteX89" fmla="*/ 625777 w 1213200"/>
              <a:gd name="connsiteY89" fmla="*/ 440063 h 485482"/>
              <a:gd name="connsiteX90" fmla="*/ 625777 w 1213200"/>
              <a:gd name="connsiteY90" fmla="*/ 448642 h 485482"/>
              <a:gd name="connsiteX91" fmla="*/ 588937 w 1213200"/>
              <a:gd name="connsiteY91" fmla="*/ 448642 h 485482"/>
              <a:gd name="connsiteX92" fmla="*/ 588937 w 1213200"/>
              <a:gd name="connsiteY92" fmla="*/ 475894 h 485482"/>
              <a:gd name="connsiteX93" fmla="*/ 630319 w 1213200"/>
              <a:gd name="connsiteY93" fmla="*/ 475894 h 485482"/>
              <a:gd name="connsiteX94" fmla="*/ 630319 w 1213200"/>
              <a:gd name="connsiteY94" fmla="*/ 484473 h 485482"/>
              <a:gd name="connsiteX95" fmla="*/ 579348 w 1213200"/>
              <a:gd name="connsiteY95" fmla="*/ 484473 h 485482"/>
              <a:gd name="connsiteX96" fmla="*/ 499108 w 1213200"/>
              <a:gd name="connsiteY96" fmla="*/ 404232 h 485482"/>
              <a:gd name="connsiteX97" fmla="*/ 508696 w 1213200"/>
              <a:gd name="connsiteY97" fmla="*/ 404232 h 485482"/>
              <a:gd name="connsiteX98" fmla="*/ 508696 w 1213200"/>
              <a:gd name="connsiteY98" fmla="*/ 440063 h 485482"/>
              <a:gd name="connsiteX99" fmla="*/ 549574 w 1213200"/>
              <a:gd name="connsiteY99" fmla="*/ 440063 h 485482"/>
              <a:gd name="connsiteX100" fmla="*/ 549574 w 1213200"/>
              <a:gd name="connsiteY100" fmla="*/ 404232 h 485482"/>
              <a:gd name="connsiteX101" fmla="*/ 559162 w 1213200"/>
              <a:gd name="connsiteY101" fmla="*/ 404232 h 485482"/>
              <a:gd name="connsiteX102" fmla="*/ 559162 w 1213200"/>
              <a:gd name="connsiteY102" fmla="*/ 484473 h 485482"/>
              <a:gd name="connsiteX103" fmla="*/ 549574 w 1213200"/>
              <a:gd name="connsiteY103" fmla="*/ 484473 h 485482"/>
              <a:gd name="connsiteX104" fmla="*/ 549574 w 1213200"/>
              <a:gd name="connsiteY104" fmla="*/ 448642 h 485482"/>
              <a:gd name="connsiteX105" fmla="*/ 508696 w 1213200"/>
              <a:gd name="connsiteY105" fmla="*/ 448642 h 485482"/>
              <a:gd name="connsiteX106" fmla="*/ 508696 w 1213200"/>
              <a:gd name="connsiteY106" fmla="*/ 484473 h 485482"/>
              <a:gd name="connsiteX107" fmla="*/ 499108 w 1213200"/>
              <a:gd name="connsiteY107" fmla="*/ 484473 h 485482"/>
              <a:gd name="connsiteX108" fmla="*/ 272011 w 1213200"/>
              <a:gd name="connsiteY108" fmla="*/ 404232 h 485482"/>
              <a:gd name="connsiteX109" fmla="*/ 302900 w 1213200"/>
              <a:gd name="connsiteY109" fmla="*/ 404232 h 485482"/>
              <a:gd name="connsiteX110" fmla="*/ 329037 w 1213200"/>
              <a:gd name="connsiteY110" fmla="*/ 429382 h 485482"/>
              <a:gd name="connsiteX111" fmla="*/ 313592 w 1213200"/>
              <a:gd name="connsiteY111" fmla="*/ 452137 h 485482"/>
              <a:gd name="connsiteX112" fmla="*/ 329037 w 1213200"/>
              <a:gd name="connsiteY112" fmla="*/ 484473 h 485482"/>
              <a:gd name="connsiteX113" fmla="*/ 318345 w 1213200"/>
              <a:gd name="connsiteY113" fmla="*/ 484473 h 485482"/>
              <a:gd name="connsiteX114" fmla="*/ 304088 w 1213200"/>
              <a:gd name="connsiteY114" fmla="*/ 454532 h 485482"/>
              <a:gd name="connsiteX115" fmla="*/ 281515 w 1213200"/>
              <a:gd name="connsiteY115" fmla="*/ 454532 h 485482"/>
              <a:gd name="connsiteX116" fmla="*/ 281515 w 1213200"/>
              <a:gd name="connsiteY116" fmla="*/ 484473 h 485482"/>
              <a:gd name="connsiteX117" fmla="*/ 272011 w 1213200"/>
              <a:gd name="connsiteY117" fmla="*/ 484473 h 485482"/>
              <a:gd name="connsiteX118" fmla="*/ 122632 w 1213200"/>
              <a:gd name="connsiteY118" fmla="*/ 404232 h 485482"/>
              <a:gd name="connsiteX119" fmla="*/ 152428 w 1213200"/>
              <a:gd name="connsiteY119" fmla="*/ 404232 h 485482"/>
              <a:gd name="connsiteX120" fmla="*/ 178649 w 1213200"/>
              <a:gd name="connsiteY120" fmla="*/ 429382 h 485482"/>
              <a:gd name="connsiteX121" fmla="*/ 152428 w 1213200"/>
              <a:gd name="connsiteY121" fmla="*/ 454532 h 485482"/>
              <a:gd name="connsiteX122" fmla="*/ 132167 w 1213200"/>
              <a:gd name="connsiteY122" fmla="*/ 454532 h 485482"/>
              <a:gd name="connsiteX123" fmla="*/ 132167 w 1213200"/>
              <a:gd name="connsiteY123" fmla="*/ 484473 h 485482"/>
              <a:gd name="connsiteX124" fmla="*/ 122632 w 1213200"/>
              <a:gd name="connsiteY124" fmla="*/ 484473 h 485482"/>
              <a:gd name="connsiteX125" fmla="*/ 29775 w 1213200"/>
              <a:gd name="connsiteY125" fmla="*/ 404232 h 485482"/>
              <a:gd name="connsiteX126" fmla="*/ 41887 w 1213200"/>
              <a:gd name="connsiteY126" fmla="*/ 404232 h 485482"/>
              <a:gd name="connsiteX127" fmla="*/ 71662 w 1213200"/>
              <a:gd name="connsiteY127" fmla="*/ 484473 h 485482"/>
              <a:gd name="connsiteX128" fmla="*/ 61064 w 1213200"/>
              <a:gd name="connsiteY128" fmla="*/ 484473 h 485482"/>
              <a:gd name="connsiteX129" fmla="*/ 53999 w 1213200"/>
              <a:gd name="connsiteY129" fmla="*/ 463782 h 485482"/>
              <a:gd name="connsiteX130" fmla="*/ 18168 w 1213200"/>
              <a:gd name="connsiteY130" fmla="*/ 463782 h 485482"/>
              <a:gd name="connsiteX131" fmla="*/ 9589 w 1213200"/>
              <a:gd name="connsiteY131" fmla="*/ 484473 h 485482"/>
              <a:gd name="connsiteX132" fmla="*/ 0 w 1213200"/>
              <a:gd name="connsiteY132" fmla="*/ 484473 h 485482"/>
              <a:gd name="connsiteX133" fmla="*/ 793576 w 1213200"/>
              <a:gd name="connsiteY133" fmla="*/ 402718 h 485482"/>
              <a:gd name="connsiteX134" fmla="*/ 824613 w 1213200"/>
              <a:gd name="connsiteY134" fmla="*/ 431505 h 485482"/>
              <a:gd name="connsiteX135" fmla="*/ 824613 w 1213200"/>
              <a:gd name="connsiteY135" fmla="*/ 456695 h 485482"/>
              <a:gd name="connsiteX136" fmla="*/ 793576 w 1213200"/>
              <a:gd name="connsiteY136" fmla="*/ 485482 h 485482"/>
              <a:gd name="connsiteX137" fmla="*/ 762540 w 1213200"/>
              <a:gd name="connsiteY137" fmla="*/ 456695 h 485482"/>
              <a:gd name="connsiteX138" fmla="*/ 762540 w 1213200"/>
              <a:gd name="connsiteY138" fmla="*/ 431505 h 485482"/>
              <a:gd name="connsiteX139" fmla="*/ 793576 w 1213200"/>
              <a:gd name="connsiteY139" fmla="*/ 402718 h 485482"/>
              <a:gd name="connsiteX140" fmla="*/ 718476 w 1213200"/>
              <a:gd name="connsiteY140" fmla="*/ 402718 h 485482"/>
              <a:gd name="connsiteX141" fmla="*/ 748409 w 1213200"/>
              <a:gd name="connsiteY141" fmla="*/ 429107 h 485482"/>
              <a:gd name="connsiteX142" fmla="*/ 748409 w 1213200"/>
              <a:gd name="connsiteY142" fmla="*/ 430306 h 485482"/>
              <a:gd name="connsiteX143" fmla="*/ 738830 w 1213200"/>
              <a:gd name="connsiteY143" fmla="*/ 430306 h 485482"/>
              <a:gd name="connsiteX144" fmla="*/ 738830 w 1213200"/>
              <a:gd name="connsiteY144" fmla="*/ 429107 h 485482"/>
              <a:gd name="connsiteX145" fmla="*/ 718476 w 1213200"/>
              <a:gd name="connsiteY145" fmla="*/ 411114 h 485482"/>
              <a:gd name="connsiteX146" fmla="*/ 696924 w 1213200"/>
              <a:gd name="connsiteY146" fmla="*/ 431505 h 485482"/>
              <a:gd name="connsiteX147" fmla="*/ 696924 w 1213200"/>
              <a:gd name="connsiteY147" fmla="*/ 456695 h 485482"/>
              <a:gd name="connsiteX148" fmla="*/ 718476 w 1213200"/>
              <a:gd name="connsiteY148" fmla="*/ 477086 h 485482"/>
              <a:gd name="connsiteX149" fmla="*/ 738830 w 1213200"/>
              <a:gd name="connsiteY149" fmla="*/ 459093 h 485482"/>
              <a:gd name="connsiteX150" fmla="*/ 748409 w 1213200"/>
              <a:gd name="connsiteY150" fmla="*/ 459093 h 485482"/>
              <a:gd name="connsiteX151" fmla="*/ 718476 w 1213200"/>
              <a:gd name="connsiteY151" fmla="*/ 485482 h 485482"/>
              <a:gd name="connsiteX152" fmla="*/ 687345 w 1213200"/>
              <a:gd name="connsiteY152" fmla="*/ 456695 h 485482"/>
              <a:gd name="connsiteX153" fmla="*/ 687345 w 1213200"/>
              <a:gd name="connsiteY153" fmla="*/ 431505 h 485482"/>
              <a:gd name="connsiteX154" fmla="*/ 718476 w 1213200"/>
              <a:gd name="connsiteY154" fmla="*/ 402718 h 485482"/>
              <a:gd name="connsiteX155" fmla="*/ 450572 w 1213200"/>
              <a:gd name="connsiteY155" fmla="*/ 402718 h 485482"/>
              <a:gd name="connsiteX156" fmla="*/ 481445 w 1213200"/>
              <a:gd name="connsiteY156" fmla="*/ 429107 h 485482"/>
              <a:gd name="connsiteX157" fmla="*/ 481445 w 1213200"/>
              <a:gd name="connsiteY157" fmla="*/ 430306 h 485482"/>
              <a:gd name="connsiteX158" fmla="*/ 471946 w 1213200"/>
              <a:gd name="connsiteY158" fmla="*/ 430306 h 485482"/>
              <a:gd name="connsiteX159" fmla="*/ 471946 w 1213200"/>
              <a:gd name="connsiteY159" fmla="*/ 429107 h 485482"/>
              <a:gd name="connsiteX160" fmla="*/ 450572 w 1213200"/>
              <a:gd name="connsiteY160" fmla="*/ 411114 h 485482"/>
              <a:gd name="connsiteX161" fmla="*/ 430385 w 1213200"/>
              <a:gd name="connsiteY161" fmla="*/ 431505 h 485482"/>
              <a:gd name="connsiteX162" fmla="*/ 430385 w 1213200"/>
              <a:gd name="connsiteY162" fmla="*/ 456695 h 485482"/>
              <a:gd name="connsiteX163" fmla="*/ 450572 w 1213200"/>
              <a:gd name="connsiteY163" fmla="*/ 477086 h 485482"/>
              <a:gd name="connsiteX164" fmla="*/ 471946 w 1213200"/>
              <a:gd name="connsiteY164" fmla="*/ 459093 h 485482"/>
              <a:gd name="connsiteX165" fmla="*/ 481445 w 1213200"/>
              <a:gd name="connsiteY165" fmla="*/ 459093 h 485482"/>
              <a:gd name="connsiteX166" fmla="*/ 450572 w 1213200"/>
              <a:gd name="connsiteY166" fmla="*/ 485482 h 485482"/>
              <a:gd name="connsiteX167" fmla="*/ 420886 w 1213200"/>
              <a:gd name="connsiteY167" fmla="*/ 456695 h 485482"/>
              <a:gd name="connsiteX168" fmla="*/ 420886 w 1213200"/>
              <a:gd name="connsiteY168" fmla="*/ 431505 h 485482"/>
              <a:gd name="connsiteX169" fmla="*/ 450572 w 1213200"/>
              <a:gd name="connsiteY169" fmla="*/ 402718 h 485482"/>
              <a:gd name="connsiteX170" fmla="*/ 374364 w 1213200"/>
              <a:gd name="connsiteY170" fmla="*/ 402718 h 485482"/>
              <a:gd name="connsiteX171" fmla="*/ 403036 w 1213200"/>
              <a:gd name="connsiteY171" fmla="*/ 426708 h 485482"/>
              <a:gd name="connsiteX172" fmla="*/ 403036 w 1213200"/>
              <a:gd name="connsiteY172" fmla="*/ 427907 h 485482"/>
              <a:gd name="connsiteX173" fmla="*/ 393479 w 1213200"/>
              <a:gd name="connsiteY173" fmla="*/ 427907 h 485482"/>
              <a:gd name="connsiteX174" fmla="*/ 393479 w 1213200"/>
              <a:gd name="connsiteY174" fmla="*/ 426708 h 485482"/>
              <a:gd name="connsiteX175" fmla="*/ 374364 w 1213200"/>
              <a:gd name="connsiteY175" fmla="*/ 411114 h 485482"/>
              <a:gd name="connsiteX176" fmla="*/ 356443 w 1213200"/>
              <a:gd name="connsiteY176" fmla="*/ 424309 h 485482"/>
              <a:gd name="connsiteX177" fmla="*/ 368390 w 1213200"/>
              <a:gd name="connsiteY177" fmla="*/ 437503 h 485482"/>
              <a:gd name="connsiteX178" fmla="*/ 383921 w 1213200"/>
              <a:gd name="connsiteY178" fmla="*/ 441101 h 485482"/>
              <a:gd name="connsiteX179" fmla="*/ 404231 w 1213200"/>
              <a:gd name="connsiteY179" fmla="*/ 462692 h 485482"/>
              <a:gd name="connsiteX180" fmla="*/ 374364 w 1213200"/>
              <a:gd name="connsiteY180" fmla="*/ 485482 h 485482"/>
              <a:gd name="connsiteX181" fmla="*/ 345691 w 1213200"/>
              <a:gd name="connsiteY181" fmla="*/ 461492 h 485482"/>
              <a:gd name="connsiteX182" fmla="*/ 345691 w 1213200"/>
              <a:gd name="connsiteY182" fmla="*/ 460293 h 485482"/>
              <a:gd name="connsiteX183" fmla="*/ 355249 w 1213200"/>
              <a:gd name="connsiteY183" fmla="*/ 460293 h 485482"/>
              <a:gd name="connsiteX184" fmla="*/ 355249 w 1213200"/>
              <a:gd name="connsiteY184" fmla="*/ 461492 h 485482"/>
              <a:gd name="connsiteX185" fmla="*/ 374364 w 1213200"/>
              <a:gd name="connsiteY185" fmla="*/ 477086 h 485482"/>
              <a:gd name="connsiteX186" fmla="*/ 393479 w 1213200"/>
              <a:gd name="connsiteY186" fmla="*/ 462692 h 485482"/>
              <a:gd name="connsiteX187" fmla="*/ 381532 w 1213200"/>
              <a:gd name="connsiteY187" fmla="*/ 449498 h 485482"/>
              <a:gd name="connsiteX188" fmla="*/ 366001 w 1213200"/>
              <a:gd name="connsiteY188" fmla="*/ 447099 h 485482"/>
              <a:gd name="connsiteX189" fmla="*/ 346886 w 1213200"/>
              <a:gd name="connsiteY189" fmla="*/ 425508 h 485482"/>
              <a:gd name="connsiteX190" fmla="*/ 374364 w 1213200"/>
              <a:gd name="connsiteY190" fmla="*/ 402718 h 485482"/>
              <a:gd name="connsiteX191" fmla="*/ 221798 w 1213200"/>
              <a:gd name="connsiteY191" fmla="*/ 402718 h 485482"/>
              <a:gd name="connsiteX192" fmla="*/ 252834 w 1213200"/>
              <a:gd name="connsiteY192" fmla="*/ 431505 h 485482"/>
              <a:gd name="connsiteX193" fmla="*/ 252834 w 1213200"/>
              <a:gd name="connsiteY193" fmla="*/ 456695 h 485482"/>
              <a:gd name="connsiteX194" fmla="*/ 221798 w 1213200"/>
              <a:gd name="connsiteY194" fmla="*/ 485482 h 485482"/>
              <a:gd name="connsiteX195" fmla="*/ 190761 w 1213200"/>
              <a:gd name="connsiteY195" fmla="*/ 456695 h 485482"/>
              <a:gd name="connsiteX196" fmla="*/ 190761 w 1213200"/>
              <a:gd name="connsiteY196" fmla="*/ 431505 h 485482"/>
              <a:gd name="connsiteX197" fmla="*/ 221798 w 1213200"/>
              <a:gd name="connsiteY197" fmla="*/ 402718 h 485482"/>
              <a:gd name="connsiteX198" fmla="*/ 1049691 w 1213200"/>
              <a:gd name="connsiteY198" fmla="*/ 43905 h 485482"/>
              <a:gd name="connsiteX199" fmla="*/ 1049691 w 1213200"/>
              <a:gd name="connsiteY199" fmla="*/ 130202 h 485482"/>
              <a:gd name="connsiteX200" fmla="*/ 1114157 w 1213200"/>
              <a:gd name="connsiteY200" fmla="*/ 130202 h 485482"/>
              <a:gd name="connsiteX201" fmla="*/ 1160716 w 1213200"/>
              <a:gd name="connsiteY201" fmla="*/ 87054 h 485482"/>
              <a:gd name="connsiteX202" fmla="*/ 1114157 w 1213200"/>
              <a:gd name="connsiteY202" fmla="*/ 43905 h 485482"/>
              <a:gd name="connsiteX203" fmla="*/ 1049691 w 1213200"/>
              <a:gd name="connsiteY203" fmla="*/ 43905 h 485482"/>
              <a:gd name="connsiteX204" fmla="*/ 999729 w 1213200"/>
              <a:gd name="connsiteY204" fmla="*/ 0 h 485482"/>
              <a:gd name="connsiteX205" fmla="*/ 1115234 w 1213200"/>
              <a:gd name="connsiteY205" fmla="*/ 0 h 485482"/>
              <a:gd name="connsiteX206" fmla="*/ 1211686 w 1213200"/>
              <a:gd name="connsiteY206" fmla="*/ 87253 h 485482"/>
              <a:gd name="connsiteX207" fmla="*/ 1115234 w 1213200"/>
              <a:gd name="connsiteY207" fmla="*/ 173311 h 485482"/>
              <a:gd name="connsiteX208" fmla="*/ 1049741 w 1213200"/>
              <a:gd name="connsiteY208" fmla="*/ 173311 h 485482"/>
              <a:gd name="connsiteX209" fmla="*/ 1049741 w 1213200"/>
              <a:gd name="connsiteY209" fmla="*/ 295226 h 485482"/>
              <a:gd name="connsiteX210" fmla="*/ 999729 w 1213200"/>
              <a:gd name="connsiteY210" fmla="*/ 295226 h 485482"/>
              <a:gd name="connsiteX211" fmla="*/ 999729 w 1213200"/>
              <a:gd name="connsiteY211" fmla="*/ 0 h 485482"/>
              <a:gd name="connsiteX212" fmla="*/ 717625 w 1213200"/>
              <a:gd name="connsiteY212" fmla="*/ 0 h 485482"/>
              <a:gd name="connsiteX213" fmla="*/ 767586 w 1213200"/>
              <a:gd name="connsiteY213" fmla="*/ 0 h 485482"/>
              <a:gd name="connsiteX214" fmla="*/ 767586 w 1213200"/>
              <a:gd name="connsiteY214" fmla="*/ 129193 h 485482"/>
              <a:gd name="connsiteX215" fmla="*/ 893751 w 1213200"/>
              <a:gd name="connsiteY215" fmla="*/ 129193 h 485482"/>
              <a:gd name="connsiteX216" fmla="*/ 893751 w 1213200"/>
              <a:gd name="connsiteY216" fmla="*/ 0 h 485482"/>
              <a:gd name="connsiteX217" fmla="*/ 943712 w 1213200"/>
              <a:gd name="connsiteY217" fmla="*/ 0 h 485482"/>
              <a:gd name="connsiteX218" fmla="*/ 943712 w 1213200"/>
              <a:gd name="connsiteY218" fmla="*/ 295226 h 485482"/>
              <a:gd name="connsiteX219" fmla="*/ 893751 w 1213200"/>
              <a:gd name="connsiteY219" fmla="*/ 295226 h 485482"/>
              <a:gd name="connsiteX220" fmla="*/ 893751 w 1213200"/>
              <a:gd name="connsiteY220" fmla="*/ 173098 h 485482"/>
              <a:gd name="connsiteX221" fmla="*/ 767586 w 1213200"/>
              <a:gd name="connsiteY221" fmla="*/ 173098 h 485482"/>
              <a:gd name="connsiteX222" fmla="*/ 767586 w 1213200"/>
              <a:gd name="connsiteY222" fmla="*/ 295226 h 485482"/>
              <a:gd name="connsiteX223" fmla="*/ 717625 w 1213200"/>
              <a:gd name="connsiteY223" fmla="*/ 295226 h 485482"/>
              <a:gd name="connsiteX224" fmla="*/ 401708 w 1213200"/>
              <a:gd name="connsiteY224" fmla="*/ 0 h 485482"/>
              <a:gd name="connsiteX225" fmla="*/ 448137 w 1213200"/>
              <a:gd name="connsiteY225" fmla="*/ 0 h 485482"/>
              <a:gd name="connsiteX226" fmla="*/ 531405 w 1213200"/>
              <a:gd name="connsiteY226" fmla="*/ 135249 h 485482"/>
              <a:gd name="connsiteX227" fmla="*/ 616188 w 1213200"/>
              <a:gd name="connsiteY227" fmla="*/ 0 h 485482"/>
              <a:gd name="connsiteX228" fmla="*/ 661607 w 1213200"/>
              <a:gd name="connsiteY228" fmla="*/ 0 h 485482"/>
              <a:gd name="connsiteX229" fmla="*/ 661607 w 1213200"/>
              <a:gd name="connsiteY229" fmla="*/ 295226 h 485482"/>
              <a:gd name="connsiteX230" fmla="*/ 612655 w 1213200"/>
              <a:gd name="connsiteY230" fmla="*/ 295226 h 485482"/>
              <a:gd name="connsiteX231" fmla="*/ 612655 w 1213200"/>
              <a:gd name="connsiteY231" fmla="*/ 93362 h 485482"/>
              <a:gd name="connsiteX232" fmla="*/ 531405 w 1213200"/>
              <a:gd name="connsiteY232" fmla="*/ 221041 h 485482"/>
              <a:gd name="connsiteX233" fmla="*/ 451669 w 1213200"/>
              <a:gd name="connsiteY233" fmla="*/ 93362 h 485482"/>
              <a:gd name="connsiteX234" fmla="*/ 451669 w 1213200"/>
              <a:gd name="connsiteY234" fmla="*/ 295226 h 485482"/>
              <a:gd name="connsiteX235" fmla="*/ 401708 w 1213200"/>
              <a:gd name="connsiteY235" fmla="*/ 295226 h 485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1213200" h="485482">
                <a:moveTo>
                  <a:pt x="1022440" y="413820"/>
                </a:moveTo>
                <a:lnTo>
                  <a:pt x="1006795" y="455707"/>
                </a:lnTo>
                <a:lnTo>
                  <a:pt x="1038084" y="455707"/>
                </a:lnTo>
                <a:close/>
                <a:moveTo>
                  <a:pt x="35830" y="413820"/>
                </a:moveTo>
                <a:lnTo>
                  <a:pt x="20186" y="455707"/>
                </a:lnTo>
                <a:lnTo>
                  <a:pt x="51475" y="455707"/>
                </a:lnTo>
                <a:close/>
                <a:moveTo>
                  <a:pt x="942703" y="412306"/>
                </a:moveTo>
                <a:lnTo>
                  <a:pt x="942703" y="446118"/>
                </a:lnTo>
                <a:cubicBezTo>
                  <a:pt x="962906" y="446118"/>
                  <a:pt x="962906" y="446118"/>
                  <a:pt x="962906" y="446118"/>
                </a:cubicBezTo>
                <a:cubicBezTo>
                  <a:pt x="972413" y="446118"/>
                  <a:pt x="979543" y="441288"/>
                  <a:pt x="979543" y="429212"/>
                </a:cubicBezTo>
                <a:cubicBezTo>
                  <a:pt x="979543" y="417136"/>
                  <a:pt x="972413" y="412306"/>
                  <a:pt x="962906" y="412306"/>
                </a:cubicBezTo>
                <a:cubicBezTo>
                  <a:pt x="942703" y="412306"/>
                  <a:pt x="942703" y="412306"/>
                  <a:pt x="942703" y="412306"/>
                </a:cubicBezTo>
                <a:close/>
                <a:moveTo>
                  <a:pt x="281095" y="412306"/>
                </a:moveTo>
                <a:lnTo>
                  <a:pt x="281095" y="446118"/>
                </a:lnTo>
                <a:cubicBezTo>
                  <a:pt x="302669" y="446118"/>
                  <a:pt x="302669" y="446118"/>
                  <a:pt x="302669" y="446118"/>
                </a:cubicBezTo>
                <a:cubicBezTo>
                  <a:pt x="312258" y="446118"/>
                  <a:pt x="319449" y="441288"/>
                  <a:pt x="319449" y="429212"/>
                </a:cubicBezTo>
                <a:cubicBezTo>
                  <a:pt x="319449" y="417136"/>
                  <a:pt x="312258" y="412306"/>
                  <a:pt x="302669" y="412306"/>
                </a:cubicBezTo>
                <a:cubicBezTo>
                  <a:pt x="281095" y="412306"/>
                  <a:pt x="281095" y="412306"/>
                  <a:pt x="281095" y="412306"/>
                </a:cubicBezTo>
                <a:close/>
                <a:moveTo>
                  <a:pt x="132221" y="412306"/>
                </a:moveTo>
                <a:lnTo>
                  <a:pt x="132221" y="446118"/>
                </a:lnTo>
                <a:cubicBezTo>
                  <a:pt x="152525" y="446118"/>
                  <a:pt x="152525" y="446118"/>
                  <a:pt x="152525" y="446118"/>
                </a:cubicBezTo>
                <a:cubicBezTo>
                  <a:pt x="162080" y="446118"/>
                  <a:pt x="168052" y="441288"/>
                  <a:pt x="168052" y="429212"/>
                </a:cubicBezTo>
                <a:cubicBezTo>
                  <a:pt x="168052" y="417136"/>
                  <a:pt x="162080" y="412306"/>
                  <a:pt x="152525" y="412306"/>
                </a:cubicBezTo>
                <a:cubicBezTo>
                  <a:pt x="132221" y="412306"/>
                  <a:pt x="132221" y="412306"/>
                  <a:pt x="132221" y="412306"/>
                </a:cubicBezTo>
                <a:close/>
                <a:moveTo>
                  <a:pt x="793576" y="411297"/>
                </a:moveTo>
                <a:cubicBezTo>
                  <a:pt x="780469" y="411297"/>
                  <a:pt x="772128" y="418454"/>
                  <a:pt x="772128" y="431575"/>
                </a:cubicBezTo>
                <a:cubicBezTo>
                  <a:pt x="772128" y="456625"/>
                  <a:pt x="772128" y="456625"/>
                  <a:pt x="772128" y="456625"/>
                </a:cubicBezTo>
                <a:cubicBezTo>
                  <a:pt x="772128" y="469746"/>
                  <a:pt x="780469" y="476903"/>
                  <a:pt x="793576" y="476903"/>
                </a:cubicBezTo>
                <a:cubicBezTo>
                  <a:pt x="807875" y="476903"/>
                  <a:pt x="815024" y="469746"/>
                  <a:pt x="815024" y="456625"/>
                </a:cubicBezTo>
                <a:lnTo>
                  <a:pt x="815024" y="431575"/>
                </a:lnTo>
                <a:cubicBezTo>
                  <a:pt x="815024" y="418454"/>
                  <a:pt x="807875" y="411297"/>
                  <a:pt x="793576" y="411297"/>
                </a:cubicBezTo>
                <a:close/>
                <a:moveTo>
                  <a:pt x="221798" y="411297"/>
                </a:moveTo>
                <a:cubicBezTo>
                  <a:pt x="207499" y="411297"/>
                  <a:pt x="200350" y="418454"/>
                  <a:pt x="200350" y="431575"/>
                </a:cubicBezTo>
                <a:cubicBezTo>
                  <a:pt x="200350" y="456625"/>
                  <a:pt x="200350" y="456625"/>
                  <a:pt x="200350" y="456625"/>
                </a:cubicBezTo>
                <a:cubicBezTo>
                  <a:pt x="200350" y="469746"/>
                  <a:pt x="207499" y="476903"/>
                  <a:pt x="221798" y="476903"/>
                </a:cubicBezTo>
                <a:cubicBezTo>
                  <a:pt x="234905" y="476903"/>
                  <a:pt x="243246" y="469746"/>
                  <a:pt x="243246" y="456625"/>
                </a:cubicBezTo>
                <a:lnTo>
                  <a:pt x="243246" y="431575"/>
                </a:lnTo>
                <a:cubicBezTo>
                  <a:pt x="243246" y="418454"/>
                  <a:pt x="234905" y="411297"/>
                  <a:pt x="221798" y="411297"/>
                </a:cubicBezTo>
                <a:close/>
                <a:moveTo>
                  <a:pt x="1144062" y="404232"/>
                </a:moveTo>
                <a:lnTo>
                  <a:pt x="1154660" y="404232"/>
                </a:lnTo>
                <a:lnTo>
                  <a:pt x="1178379" y="443596"/>
                </a:lnTo>
                <a:lnTo>
                  <a:pt x="1201088" y="404232"/>
                </a:lnTo>
                <a:lnTo>
                  <a:pt x="1213200" y="404232"/>
                </a:lnTo>
                <a:lnTo>
                  <a:pt x="1183425" y="453184"/>
                </a:lnTo>
                <a:lnTo>
                  <a:pt x="1183425" y="484473"/>
                </a:lnTo>
                <a:lnTo>
                  <a:pt x="1173837" y="484473"/>
                </a:lnTo>
                <a:lnTo>
                  <a:pt x="1173837" y="453184"/>
                </a:lnTo>
                <a:close/>
                <a:moveTo>
                  <a:pt x="1071391" y="404232"/>
                </a:moveTo>
                <a:lnTo>
                  <a:pt x="1079466" y="404232"/>
                </a:lnTo>
                <a:lnTo>
                  <a:pt x="1121352" y="467315"/>
                </a:lnTo>
                <a:lnTo>
                  <a:pt x="1121352" y="404232"/>
                </a:lnTo>
                <a:lnTo>
                  <a:pt x="1130941" y="404232"/>
                </a:lnTo>
                <a:lnTo>
                  <a:pt x="1130941" y="484473"/>
                </a:lnTo>
                <a:lnTo>
                  <a:pt x="1122362" y="484473"/>
                </a:lnTo>
                <a:lnTo>
                  <a:pt x="1080980" y="420886"/>
                </a:lnTo>
                <a:lnTo>
                  <a:pt x="1080980" y="484473"/>
                </a:lnTo>
                <a:lnTo>
                  <a:pt x="1071391" y="484473"/>
                </a:lnTo>
                <a:close/>
                <a:moveTo>
                  <a:pt x="1017392" y="404232"/>
                </a:moveTo>
                <a:lnTo>
                  <a:pt x="1029504" y="404232"/>
                </a:lnTo>
                <a:lnTo>
                  <a:pt x="1058269" y="484473"/>
                </a:lnTo>
                <a:lnTo>
                  <a:pt x="1048681" y="484473"/>
                </a:lnTo>
                <a:lnTo>
                  <a:pt x="1040101" y="463782"/>
                </a:lnTo>
                <a:lnTo>
                  <a:pt x="1004271" y="463782"/>
                </a:lnTo>
                <a:lnTo>
                  <a:pt x="997205" y="484473"/>
                </a:lnTo>
                <a:lnTo>
                  <a:pt x="987617" y="484473"/>
                </a:lnTo>
                <a:close/>
                <a:moveTo>
                  <a:pt x="933114" y="404232"/>
                </a:moveTo>
                <a:cubicBezTo>
                  <a:pt x="962910" y="404232"/>
                  <a:pt x="962910" y="404232"/>
                  <a:pt x="962910" y="404232"/>
                </a:cubicBezTo>
                <a:cubicBezTo>
                  <a:pt x="978404" y="404232"/>
                  <a:pt x="989131" y="411418"/>
                  <a:pt x="989131" y="429382"/>
                </a:cubicBezTo>
                <a:cubicBezTo>
                  <a:pt x="989131" y="446149"/>
                  <a:pt x="978404" y="454532"/>
                  <a:pt x="962910" y="454532"/>
                </a:cubicBezTo>
                <a:cubicBezTo>
                  <a:pt x="942649" y="454532"/>
                  <a:pt x="942649" y="454532"/>
                  <a:pt x="942649" y="454532"/>
                </a:cubicBezTo>
                <a:cubicBezTo>
                  <a:pt x="942649" y="484473"/>
                  <a:pt x="942649" y="484473"/>
                  <a:pt x="942649" y="484473"/>
                </a:cubicBezTo>
                <a:cubicBezTo>
                  <a:pt x="933114" y="484473"/>
                  <a:pt x="933114" y="484473"/>
                  <a:pt x="933114" y="484473"/>
                </a:cubicBezTo>
                <a:close/>
                <a:moveTo>
                  <a:pt x="843790" y="404232"/>
                </a:moveTo>
                <a:lnTo>
                  <a:pt x="853378" y="404232"/>
                </a:lnTo>
                <a:lnTo>
                  <a:pt x="878107" y="452175"/>
                </a:lnTo>
                <a:lnTo>
                  <a:pt x="903340" y="404232"/>
                </a:lnTo>
                <a:lnTo>
                  <a:pt x="912928" y="404232"/>
                </a:lnTo>
                <a:lnTo>
                  <a:pt x="912928" y="484473"/>
                </a:lnTo>
                <a:lnTo>
                  <a:pt x="903340" y="484473"/>
                </a:lnTo>
                <a:lnTo>
                  <a:pt x="903340" y="423409"/>
                </a:lnTo>
                <a:lnTo>
                  <a:pt x="878107" y="469838"/>
                </a:lnTo>
                <a:lnTo>
                  <a:pt x="853378" y="423409"/>
                </a:lnTo>
                <a:lnTo>
                  <a:pt x="853378" y="484473"/>
                </a:lnTo>
                <a:lnTo>
                  <a:pt x="843790" y="484473"/>
                </a:lnTo>
                <a:close/>
                <a:moveTo>
                  <a:pt x="579348" y="404232"/>
                </a:moveTo>
                <a:lnTo>
                  <a:pt x="630319" y="404232"/>
                </a:lnTo>
                <a:lnTo>
                  <a:pt x="630319" y="412307"/>
                </a:lnTo>
                <a:lnTo>
                  <a:pt x="588937" y="412307"/>
                </a:lnTo>
                <a:lnTo>
                  <a:pt x="588937" y="440063"/>
                </a:lnTo>
                <a:lnTo>
                  <a:pt x="625777" y="440063"/>
                </a:lnTo>
                <a:lnTo>
                  <a:pt x="625777" y="448642"/>
                </a:lnTo>
                <a:lnTo>
                  <a:pt x="588937" y="448642"/>
                </a:lnTo>
                <a:lnTo>
                  <a:pt x="588937" y="475894"/>
                </a:lnTo>
                <a:lnTo>
                  <a:pt x="630319" y="475894"/>
                </a:lnTo>
                <a:lnTo>
                  <a:pt x="630319" y="484473"/>
                </a:lnTo>
                <a:lnTo>
                  <a:pt x="579348" y="484473"/>
                </a:lnTo>
                <a:close/>
                <a:moveTo>
                  <a:pt x="499108" y="404232"/>
                </a:moveTo>
                <a:lnTo>
                  <a:pt x="508696" y="404232"/>
                </a:lnTo>
                <a:lnTo>
                  <a:pt x="508696" y="440063"/>
                </a:lnTo>
                <a:lnTo>
                  <a:pt x="549574" y="440063"/>
                </a:lnTo>
                <a:lnTo>
                  <a:pt x="549574" y="404232"/>
                </a:lnTo>
                <a:lnTo>
                  <a:pt x="559162" y="404232"/>
                </a:lnTo>
                <a:lnTo>
                  <a:pt x="559162" y="484473"/>
                </a:lnTo>
                <a:lnTo>
                  <a:pt x="549574" y="484473"/>
                </a:lnTo>
                <a:lnTo>
                  <a:pt x="549574" y="448642"/>
                </a:lnTo>
                <a:lnTo>
                  <a:pt x="508696" y="448642"/>
                </a:lnTo>
                <a:lnTo>
                  <a:pt x="508696" y="484473"/>
                </a:lnTo>
                <a:lnTo>
                  <a:pt x="499108" y="484473"/>
                </a:lnTo>
                <a:close/>
                <a:moveTo>
                  <a:pt x="272011" y="404232"/>
                </a:moveTo>
                <a:cubicBezTo>
                  <a:pt x="302900" y="404232"/>
                  <a:pt x="302900" y="404232"/>
                  <a:pt x="302900" y="404232"/>
                </a:cubicBezTo>
                <a:cubicBezTo>
                  <a:pt x="318345" y="404232"/>
                  <a:pt x="329037" y="411418"/>
                  <a:pt x="329037" y="429382"/>
                </a:cubicBezTo>
                <a:cubicBezTo>
                  <a:pt x="329037" y="442556"/>
                  <a:pt x="323097" y="449742"/>
                  <a:pt x="313592" y="452137"/>
                </a:cubicBezTo>
                <a:cubicBezTo>
                  <a:pt x="329037" y="484473"/>
                  <a:pt x="329037" y="484473"/>
                  <a:pt x="329037" y="484473"/>
                </a:cubicBezTo>
                <a:cubicBezTo>
                  <a:pt x="318345" y="484473"/>
                  <a:pt x="318345" y="484473"/>
                  <a:pt x="318345" y="484473"/>
                </a:cubicBezTo>
                <a:cubicBezTo>
                  <a:pt x="304088" y="454532"/>
                  <a:pt x="304088" y="454532"/>
                  <a:pt x="304088" y="454532"/>
                </a:cubicBezTo>
                <a:cubicBezTo>
                  <a:pt x="281515" y="454532"/>
                  <a:pt x="281515" y="454532"/>
                  <a:pt x="281515" y="454532"/>
                </a:cubicBezTo>
                <a:cubicBezTo>
                  <a:pt x="281515" y="484473"/>
                  <a:pt x="281515" y="484473"/>
                  <a:pt x="281515" y="484473"/>
                </a:cubicBezTo>
                <a:cubicBezTo>
                  <a:pt x="272011" y="484473"/>
                  <a:pt x="272011" y="484473"/>
                  <a:pt x="272011" y="484473"/>
                </a:cubicBezTo>
                <a:close/>
                <a:moveTo>
                  <a:pt x="122632" y="404232"/>
                </a:moveTo>
                <a:cubicBezTo>
                  <a:pt x="152428" y="404232"/>
                  <a:pt x="152428" y="404232"/>
                  <a:pt x="152428" y="404232"/>
                </a:cubicBezTo>
                <a:cubicBezTo>
                  <a:pt x="167922" y="404232"/>
                  <a:pt x="178649" y="411418"/>
                  <a:pt x="178649" y="429382"/>
                </a:cubicBezTo>
                <a:cubicBezTo>
                  <a:pt x="178649" y="446149"/>
                  <a:pt x="167922" y="454532"/>
                  <a:pt x="152428" y="454532"/>
                </a:cubicBezTo>
                <a:cubicBezTo>
                  <a:pt x="132167" y="454532"/>
                  <a:pt x="132167" y="454532"/>
                  <a:pt x="132167" y="454532"/>
                </a:cubicBezTo>
                <a:cubicBezTo>
                  <a:pt x="132167" y="484473"/>
                  <a:pt x="132167" y="484473"/>
                  <a:pt x="132167" y="484473"/>
                </a:cubicBezTo>
                <a:cubicBezTo>
                  <a:pt x="122632" y="484473"/>
                  <a:pt x="122632" y="484473"/>
                  <a:pt x="122632" y="484473"/>
                </a:cubicBezTo>
                <a:close/>
                <a:moveTo>
                  <a:pt x="29775" y="404232"/>
                </a:moveTo>
                <a:lnTo>
                  <a:pt x="41887" y="404232"/>
                </a:lnTo>
                <a:lnTo>
                  <a:pt x="71662" y="484473"/>
                </a:lnTo>
                <a:lnTo>
                  <a:pt x="61064" y="484473"/>
                </a:lnTo>
                <a:lnTo>
                  <a:pt x="53999" y="463782"/>
                </a:lnTo>
                <a:lnTo>
                  <a:pt x="18168" y="463782"/>
                </a:lnTo>
                <a:lnTo>
                  <a:pt x="9589" y="484473"/>
                </a:lnTo>
                <a:lnTo>
                  <a:pt x="0" y="484473"/>
                </a:lnTo>
                <a:close/>
                <a:moveTo>
                  <a:pt x="793576" y="402718"/>
                </a:moveTo>
                <a:cubicBezTo>
                  <a:pt x="812676" y="402718"/>
                  <a:pt x="824613" y="413513"/>
                  <a:pt x="824613" y="431505"/>
                </a:cubicBezTo>
                <a:lnTo>
                  <a:pt x="824613" y="456695"/>
                </a:lnTo>
                <a:cubicBezTo>
                  <a:pt x="824613" y="474687"/>
                  <a:pt x="812676" y="485482"/>
                  <a:pt x="793576" y="485482"/>
                </a:cubicBezTo>
                <a:cubicBezTo>
                  <a:pt x="774477" y="485482"/>
                  <a:pt x="762540" y="474687"/>
                  <a:pt x="762540" y="456695"/>
                </a:cubicBezTo>
                <a:cubicBezTo>
                  <a:pt x="762540" y="431505"/>
                  <a:pt x="762540" y="431505"/>
                  <a:pt x="762540" y="431505"/>
                </a:cubicBezTo>
                <a:cubicBezTo>
                  <a:pt x="762540" y="413513"/>
                  <a:pt x="774477" y="402718"/>
                  <a:pt x="793576" y="402718"/>
                </a:cubicBezTo>
                <a:close/>
                <a:moveTo>
                  <a:pt x="718476" y="402718"/>
                </a:moveTo>
                <a:cubicBezTo>
                  <a:pt x="736436" y="402718"/>
                  <a:pt x="748409" y="412314"/>
                  <a:pt x="748409" y="429107"/>
                </a:cubicBezTo>
                <a:cubicBezTo>
                  <a:pt x="748409" y="430306"/>
                  <a:pt x="748409" y="430306"/>
                  <a:pt x="748409" y="430306"/>
                </a:cubicBezTo>
                <a:cubicBezTo>
                  <a:pt x="738830" y="430306"/>
                  <a:pt x="738830" y="430306"/>
                  <a:pt x="738830" y="430306"/>
                </a:cubicBezTo>
                <a:cubicBezTo>
                  <a:pt x="738830" y="429107"/>
                  <a:pt x="738830" y="429107"/>
                  <a:pt x="738830" y="429107"/>
                </a:cubicBezTo>
                <a:cubicBezTo>
                  <a:pt x="738830" y="418311"/>
                  <a:pt x="730449" y="411114"/>
                  <a:pt x="718476" y="411114"/>
                </a:cubicBezTo>
                <a:cubicBezTo>
                  <a:pt x="704108" y="411114"/>
                  <a:pt x="696924" y="418311"/>
                  <a:pt x="696924" y="431505"/>
                </a:cubicBezTo>
                <a:cubicBezTo>
                  <a:pt x="696924" y="456695"/>
                  <a:pt x="696924" y="456695"/>
                  <a:pt x="696924" y="456695"/>
                </a:cubicBezTo>
                <a:cubicBezTo>
                  <a:pt x="696924" y="469889"/>
                  <a:pt x="704108" y="477086"/>
                  <a:pt x="718476" y="477086"/>
                </a:cubicBezTo>
                <a:cubicBezTo>
                  <a:pt x="730449" y="477086"/>
                  <a:pt x="738830" y="471088"/>
                  <a:pt x="738830" y="459093"/>
                </a:cubicBezTo>
                <a:lnTo>
                  <a:pt x="748409" y="459093"/>
                </a:lnTo>
                <a:cubicBezTo>
                  <a:pt x="748409" y="475886"/>
                  <a:pt x="736436" y="485482"/>
                  <a:pt x="718476" y="485482"/>
                </a:cubicBezTo>
                <a:cubicBezTo>
                  <a:pt x="699318" y="485482"/>
                  <a:pt x="687345" y="474687"/>
                  <a:pt x="687345" y="456695"/>
                </a:cubicBezTo>
                <a:cubicBezTo>
                  <a:pt x="687345" y="431505"/>
                  <a:pt x="687345" y="431505"/>
                  <a:pt x="687345" y="431505"/>
                </a:cubicBezTo>
                <a:cubicBezTo>
                  <a:pt x="687345" y="413513"/>
                  <a:pt x="699318" y="402718"/>
                  <a:pt x="718476" y="402718"/>
                </a:cubicBezTo>
                <a:close/>
                <a:moveTo>
                  <a:pt x="450572" y="402718"/>
                </a:moveTo>
                <a:cubicBezTo>
                  <a:pt x="469571" y="402718"/>
                  <a:pt x="481445" y="412314"/>
                  <a:pt x="481445" y="429107"/>
                </a:cubicBezTo>
                <a:cubicBezTo>
                  <a:pt x="481445" y="430306"/>
                  <a:pt x="481445" y="430306"/>
                  <a:pt x="481445" y="430306"/>
                </a:cubicBezTo>
                <a:cubicBezTo>
                  <a:pt x="471946" y="430306"/>
                  <a:pt x="471946" y="430306"/>
                  <a:pt x="471946" y="430306"/>
                </a:cubicBezTo>
                <a:cubicBezTo>
                  <a:pt x="471946" y="429107"/>
                  <a:pt x="471946" y="429107"/>
                  <a:pt x="471946" y="429107"/>
                </a:cubicBezTo>
                <a:cubicBezTo>
                  <a:pt x="471946" y="418311"/>
                  <a:pt x="463634" y="411114"/>
                  <a:pt x="450572" y="411114"/>
                </a:cubicBezTo>
                <a:cubicBezTo>
                  <a:pt x="437510" y="411114"/>
                  <a:pt x="430385" y="418311"/>
                  <a:pt x="430385" y="431505"/>
                </a:cubicBezTo>
                <a:cubicBezTo>
                  <a:pt x="430385" y="456695"/>
                  <a:pt x="430385" y="456695"/>
                  <a:pt x="430385" y="456695"/>
                </a:cubicBezTo>
                <a:cubicBezTo>
                  <a:pt x="430385" y="469889"/>
                  <a:pt x="437510" y="477086"/>
                  <a:pt x="450572" y="477086"/>
                </a:cubicBezTo>
                <a:cubicBezTo>
                  <a:pt x="463634" y="477086"/>
                  <a:pt x="471946" y="471088"/>
                  <a:pt x="471946" y="459093"/>
                </a:cubicBezTo>
                <a:lnTo>
                  <a:pt x="481445" y="459093"/>
                </a:lnTo>
                <a:cubicBezTo>
                  <a:pt x="481445" y="475886"/>
                  <a:pt x="469571" y="485482"/>
                  <a:pt x="450572" y="485482"/>
                </a:cubicBezTo>
                <a:cubicBezTo>
                  <a:pt x="431573" y="485482"/>
                  <a:pt x="420886" y="474687"/>
                  <a:pt x="420886" y="456695"/>
                </a:cubicBezTo>
                <a:cubicBezTo>
                  <a:pt x="420886" y="431505"/>
                  <a:pt x="420886" y="431505"/>
                  <a:pt x="420886" y="431505"/>
                </a:cubicBezTo>
                <a:cubicBezTo>
                  <a:pt x="420886" y="413513"/>
                  <a:pt x="431573" y="402718"/>
                  <a:pt x="450572" y="402718"/>
                </a:cubicBezTo>
                <a:close/>
                <a:moveTo>
                  <a:pt x="374364" y="402718"/>
                </a:moveTo>
                <a:cubicBezTo>
                  <a:pt x="393479" y="402718"/>
                  <a:pt x="403036" y="411114"/>
                  <a:pt x="403036" y="426708"/>
                </a:cubicBezTo>
                <a:cubicBezTo>
                  <a:pt x="403036" y="427907"/>
                  <a:pt x="403036" y="427907"/>
                  <a:pt x="403036" y="427907"/>
                </a:cubicBezTo>
                <a:cubicBezTo>
                  <a:pt x="393479" y="427907"/>
                  <a:pt x="393479" y="427907"/>
                  <a:pt x="393479" y="427907"/>
                </a:cubicBezTo>
                <a:cubicBezTo>
                  <a:pt x="393479" y="426708"/>
                  <a:pt x="393479" y="426708"/>
                  <a:pt x="393479" y="426708"/>
                </a:cubicBezTo>
                <a:cubicBezTo>
                  <a:pt x="393479" y="415912"/>
                  <a:pt x="387505" y="411114"/>
                  <a:pt x="374364" y="411114"/>
                </a:cubicBezTo>
                <a:cubicBezTo>
                  <a:pt x="362417" y="411114"/>
                  <a:pt x="356443" y="415912"/>
                  <a:pt x="356443" y="424309"/>
                </a:cubicBezTo>
                <a:cubicBezTo>
                  <a:pt x="356443" y="432705"/>
                  <a:pt x="361222" y="436303"/>
                  <a:pt x="368390" y="437503"/>
                </a:cubicBezTo>
                <a:cubicBezTo>
                  <a:pt x="383921" y="441101"/>
                  <a:pt x="383921" y="441101"/>
                  <a:pt x="383921" y="441101"/>
                </a:cubicBezTo>
                <a:cubicBezTo>
                  <a:pt x="397063" y="443500"/>
                  <a:pt x="404231" y="450697"/>
                  <a:pt x="404231" y="462692"/>
                </a:cubicBezTo>
                <a:cubicBezTo>
                  <a:pt x="404231" y="478285"/>
                  <a:pt x="393479" y="485482"/>
                  <a:pt x="374364" y="485482"/>
                </a:cubicBezTo>
                <a:cubicBezTo>
                  <a:pt x="356443" y="485482"/>
                  <a:pt x="345691" y="477086"/>
                  <a:pt x="345691" y="461492"/>
                </a:cubicBezTo>
                <a:cubicBezTo>
                  <a:pt x="345691" y="460293"/>
                  <a:pt x="345691" y="460293"/>
                  <a:pt x="345691" y="460293"/>
                </a:cubicBezTo>
                <a:cubicBezTo>
                  <a:pt x="355249" y="460293"/>
                  <a:pt x="355249" y="460293"/>
                  <a:pt x="355249" y="460293"/>
                </a:cubicBezTo>
                <a:cubicBezTo>
                  <a:pt x="355249" y="461492"/>
                  <a:pt x="355249" y="461492"/>
                  <a:pt x="355249" y="461492"/>
                </a:cubicBezTo>
                <a:cubicBezTo>
                  <a:pt x="355249" y="472288"/>
                  <a:pt x="362417" y="477086"/>
                  <a:pt x="374364" y="477086"/>
                </a:cubicBezTo>
                <a:cubicBezTo>
                  <a:pt x="387505" y="477086"/>
                  <a:pt x="393479" y="472288"/>
                  <a:pt x="393479" y="462692"/>
                </a:cubicBezTo>
                <a:cubicBezTo>
                  <a:pt x="393479" y="455495"/>
                  <a:pt x="388700" y="450697"/>
                  <a:pt x="381532" y="449498"/>
                </a:cubicBezTo>
                <a:cubicBezTo>
                  <a:pt x="366001" y="447099"/>
                  <a:pt x="366001" y="447099"/>
                  <a:pt x="366001" y="447099"/>
                </a:cubicBezTo>
                <a:cubicBezTo>
                  <a:pt x="354054" y="444700"/>
                  <a:pt x="346886" y="437503"/>
                  <a:pt x="346886" y="425508"/>
                </a:cubicBezTo>
                <a:cubicBezTo>
                  <a:pt x="346886" y="411114"/>
                  <a:pt x="356443" y="402718"/>
                  <a:pt x="374364" y="402718"/>
                </a:cubicBezTo>
                <a:close/>
                <a:moveTo>
                  <a:pt x="221798" y="402718"/>
                </a:moveTo>
                <a:cubicBezTo>
                  <a:pt x="240897" y="402718"/>
                  <a:pt x="252834" y="413513"/>
                  <a:pt x="252834" y="431505"/>
                </a:cubicBezTo>
                <a:lnTo>
                  <a:pt x="252834" y="456695"/>
                </a:lnTo>
                <a:cubicBezTo>
                  <a:pt x="252834" y="474687"/>
                  <a:pt x="240897" y="485482"/>
                  <a:pt x="221798" y="485482"/>
                </a:cubicBezTo>
                <a:cubicBezTo>
                  <a:pt x="202698" y="485482"/>
                  <a:pt x="190761" y="474687"/>
                  <a:pt x="190761" y="456695"/>
                </a:cubicBezTo>
                <a:cubicBezTo>
                  <a:pt x="190761" y="431505"/>
                  <a:pt x="190761" y="431505"/>
                  <a:pt x="190761" y="431505"/>
                </a:cubicBezTo>
                <a:cubicBezTo>
                  <a:pt x="190761" y="413513"/>
                  <a:pt x="202698" y="402718"/>
                  <a:pt x="221798" y="402718"/>
                </a:cubicBezTo>
                <a:close/>
                <a:moveTo>
                  <a:pt x="1049691" y="43905"/>
                </a:moveTo>
                <a:cubicBezTo>
                  <a:pt x="1049691" y="43905"/>
                  <a:pt x="1049691" y="43905"/>
                  <a:pt x="1049691" y="130202"/>
                </a:cubicBezTo>
                <a:cubicBezTo>
                  <a:pt x="1049691" y="130202"/>
                  <a:pt x="1049691" y="130202"/>
                  <a:pt x="1114157" y="130202"/>
                </a:cubicBezTo>
                <a:cubicBezTo>
                  <a:pt x="1147584" y="130202"/>
                  <a:pt x="1160716" y="115819"/>
                  <a:pt x="1160716" y="87054"/>
                </a:cubicBezTo>
                <a:cubicBezTo>
                  <a:pt x="1160716" y="55891"/>
                  <a:pt x="1147584" y="43905"/>
                  <a:pt x="1114157" y="43905"/>
                </a:cubicBezTo>
                <a:cubicBezTo>
                  <a:pt x="1114157" y="43905"/>
                  <a:pt x="1114157" y="43905"/>
                  <a:pt x="1049691" y="43905"/>
                </a:cubicBezTo>
                <a:close/>
                <a:moveTo>
                  <a:pt x="999729" y="0"/>
                </a:moveTo>
                <a:cubicBezTo>
                  <a:pt x="999729" y="0"/>
                  <a:pt x="999729" y="0"/>
                  <a:pt x="1115234" y="0"/>
                </a:cubicBezTo>
                <a:cubicBezTo>
                  <a:pt x="1173581" y="0"/>
                  <a:pt x="1211686" y="23905"/>
                  <a:pt x="1211686" y="87253"/>
                </a:cubicBezTo>
                <a:cubicBezTo>
                  <a:pt x="1211686" y="145820"/>
                  <a:pt x="1174772" y="173311"/>
                  <a:pt x="1115234" y="173311"/>
                </a:cubicBezTo>
                <a:cubicBezTo>
                  <a:pt x="1115234" y="173311"/>
                  <a:pt x="1115234" y="173311"/>
                  <a:pt x="1049741" y="173311"/>
                </a:cubicBezTo>
                <a:cubicBezTo>
                  <a:pt x="1049741" y="173311"/>
                  <a:pt x="1049741" y="173311"/>
                  <a:pt x="1049741" y="295226"/>
                </a:cubicBezTo>
                <a:cubicBezTo>
                  <a:pt x="1049741" y="295226"/>
                  <a:pt x="1049741" y="295226"/>
                  <a:pt x="999729" y="295226"/>
                </a:cubicBezTo>
                <a:cubicBezTo>
                  <a:pt x="999729" y="295226"/>
                  <a:pt x="999729" y="295226"/>
                  <a:pt x="999729" y="0"/>
                </a:cubicBezTo>
                <a:close/>
                <a:moveTo>
                  <a:pt x="717625" y="0"/>
                </a:moveTo>
                <a:lnTo>
                  <a:pt x="767586" y="0"/>
                </a:lnTo>
                <a:lnTo>
                  <a:pt x="767586" y="129193"/>
                </a:lnTo>
                <a:lnTo>
                  <a:pt x="893751" y="129193"/>
                </a:lnTo>
                <a:lnTo>
                  <a:pt x="893751" y="0"/>
                </a:lnTo>
                <a:lnTo>
                  <a:pt x="943712" y="0"/>
                </a:lnTo>
                <a:lnTo>
                  <a:pt x="943712" y="295226"/>
                </a:lnTo>
                <a:lnTo>
                  <a:pt x="893751" y="295226"/>
                </a:lnTo>
                <a:lnTo>
                  <a:pt x="893751" y="173098"/>
                </a:lnTo>
                <a:lnTo>
                  <a:pt x="767586" y="173098"/>
                </a:lnTo>
                <a:lnTo>
                  <a:pt x="767586" y="295226"/>
                </a:lnTo>
                <a:lnTo>
                  <a:pt x="717625" y="295226"/>
                </a:lnTo>
                <a:close/>
                <a:moveTo>
                  <a:pt x="401708" y="0"/>
                </a:moveTo>
                <a:lnTo>
                  <a:pt x="448137" y="0"/>
                </a:lnTo>
                <a:lnTo>
                  <a:pt x="531405" y="135249"/>
                </a:lnTo>
                <a:lnTo>
                  <a:pt x="616188" y="0"/>
                </a:lnTo>
                <a:lnTo>
                  <a:pt x="661607" y="0"/>
                </a:lnTo>
                <a:lnTo>
                  <a:pt x="661607" y="295226"/>
                </a:lnTo>
                <a:lnTo>
                  <a:pt x="612655" y="295226"/>
                </a:lnTo>
                <a:lnTo>
                  <a:pt x="612655" y="93362"/>
                </a:lnTo>
                <a:lnTo>
                  <a:pt x="531405" y="221041"/>
                </a:lnTo>
                <a:lnTo>
                  <a:pt x="451669" y="93362"/>
                </a:lnTo>
                <a:lnTo>
                  <a:pt x="451669" y="295226"/>
                </a:lnTo>
                <a:lnTo>
                  <a:pt x="401708" y="295226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301" name="SmartArt-Platzhalter 300">
            <a:extLst>
              <a:ext uri="{FF2B5EF4-FFF2-40B4-BE49-F238E27FC236}">
                <a16:creationId xmlns:a16="http://schemas.microsoft.com/office/drawing/2014/main" id="{75DC54DC-758D-42F2-99F9-BAD25F1F1C23}"/>
              </a:ext>
            </a:extLst>
          </p:cNvPr>
          <p:cNvSpPr>
            <a:spLocks noGrp="1"/>
          </p:cNvSpPr>
          <p:nvPr>
            <p:ph type="dgm" sz="quarter" idx="16"/>
          </p:nvPr>
        </p:nvSpPr>
        <p:spPr bwMode="gray">
          <a:xfrm>
            <a:off x="10567565" y="488304"/>
            <a:ext cx="291692" cy="295226"/>
          </a:xfrm>
          <a:custGeom>
            <a:avLst/>
            <a:gdLst>
              <a:gd name="connsiteX0" fmla="*/ 117585 w 291692"/>
              <a:gd name="connsiteY0" fmla="*/ 163510 h 295226"/>
              <a:gd name="connsiteX1" fmla="*/ 166537 w 291692"/>
              <a:gd name="connsiteY1" fmla="*/ 163510 h 295226"/>
              <a:gd name="connsiteX2" fmla="*/ 145341 w 291692"/>
              <a:gd name="connsiteY2" fmla="*/ 295226 h 295226"/>
              <a:gd name="connsiteX3" fmla="*/ 96389 w 291692"/>
              <a:gd name="connsiteY3" fmla="*/ 295226 h 295226"/>
              <a:gd name="connsiteX4" fmla="*/ 242740 w 291692"/>
              <a:gd name="connsiteY4" fmla="*/ 0 h 295226"/>
              <a:gd name="connsiteX5" fmla="*/ 291692 w 291692"/>
              <a:gd name="connsiteY5" fmla="*/ 0 h 295226"/>
              <a:gd name="connsiteX6" fmla="*/ 291692 w 291692"/>
              <a:gd name="connsiteY6" fmla="*/ 295226 h 295226"/>
              <a:gd name="connsiteX7" fmla="*/ 242740 w 291692"/>
              <a:gd name="connsiteY7" fmla="*/ 295226 h 295226"/>
              <a:gd name="connsiteX8" fmla="*/ 145341 w 291692"/>
              <a:gd name="connsiteY8" fmla="*/ 0 h 295226"/>
              <a:gd name="connsiteX9" fmla="*/ 193788 w 291692"/>
              <a:gd name="connsiteY9" fmla="*/ 0 h 295226"/>
              <a:gd name="connsiteX10" fmla="*/ 175116 w 291692"/>
              <a:gd name="connsiteY10" fmla="*/ 114558 h 295226"/>
              <a:gd name="connsiteX11" fmla="*/ 126164 w 291692"/>
              <a:gd name="connsiteY11" fmla="*/ 114558 h 295226"/>
              <a:gd name="connsiteX12" fmla="*/ 0 w 291692"/>
              <a:gd name="connsiteY12" fmla="*/ 0 h 295226"/>
              <a:gd name="connsiteX13" fmla="*/ 48447 w 291692"/>
              <a:gd name="connsiteY13" fmla="*/ 0 h 295226"/>
              <a:gd name="connsiteX14" fmla="*/ 48447 w 291692"/>
              <a:gd name="connsiteY14" fmla="*/ 295226 h 295226"/>
              <a:gd name="connsiteX15" fmla="*/ 0 w 291692"/>
              <a:gd name="connsiteY15" fmla="*/ 295226 h 2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91692" h="295226">
                <a:moveTo>
                  <a:pt x="117585" y="163510"/>
                </a:moveTo>
                <a:lnTo>
                  <a:pt x="166537" y="163510"/>
                </a:lnTo>
                <a:lnTo>
                  <a:pt x="145341" y="295226"/>
                </a:lnTo>
                <a:lnTo>
                  <a:pt x="96389" y="295226"/>
                </a:lnTo>
                <a:close/>
                <a:moveTo>
                  <a:pt x="242740" y="0"/>
                </a:moveTo>
                <a:lnTo>
                  <a:pt x="291692" y="0"/>
                </a:lnTo>
                <a:lnTo>
                  <a:pt x="291692" y="295226"/>
                </a:lnTo>
                <a:lnTo>
                  <a:pt x="242740" y="295226"/>
                </a:lnTo>
                <a:close/>
                <a:moveTo>
                  <a:pt x="145341" y="0"/>
                </a:moveTo>
                <a:lnTo>
                  <a:pt x="193788" y="0"/>
                </a:lnTo>
                <a:lnTo>
                  <a:pt x="175116" y="114558"/>
                </a:lnTo>
                <a:lnTo>
                  <a:pt x="126164" y="114558"/>
                </a:lnTo>
                <a:close/>
                <a:moveTo>
                  <a:pt x="0" y="0"/>
                </a:moveTo>
                <a:lnTo>
                  <a:pt x="48447" y="0"/>
                </a:lnTo>
                <a:lnTo>
                  <a:pt x="48447" y="295226"/>
                </a:lnTo>
                <a:lnTo>
                  <a:pt x="0" y="29522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703B1E4E-1054-4CB6-A4E9-A587222B3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484313"/>
            <a:ext cx="4823916" cy="7921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lientitel </a:t>
            </a:r>
            <a:br>
              <a:rPr lang="de-DE" dirty="0"/>
            </a:br>
            <a:r>
              <a:rPr lang="de-DE" dirty="0"/>
              <a:t>einfüg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0E254F1-F893-4F16-8CF2-952C9FC1023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 bwMode="gray">
          <a:xfrm>
            <a:off x="0" y="0"/>
            <a:ext cx="5951540" cy="6858000"/>
          </a:xfrm>
          <a:custGeom>
            <a:avLst/>
            <a:gdLst>
              <a:gd name="connsiteX0" fmla="*/ 0 w 5951540"/>
              <a:gd name="connsiteY0" fmla="*/ 0 h 6858000"/>
              <a:gd name="connsiteX1" fmla="*/ 1 w 5951540"/>
              <a:gd name="connsiteY1" fmla="*/ 0 h 6858000"/>
              <a:gd name="connsiteX2" fmla="*/ 3482 w 5951540"/>
              <a:gd name="connsiteY2" fmla="*/ 0 h 6858000"/>
              <a:gd name="connsiteX3" fmla="*/ 397846 w 5951540"/>
              <a:gd name="connsiteY3" fmla="*/ 0 h 6858000"/>
              <a:gd name="connsiteX4" fmla="*/ 408606 w 5951540"/>
              <a:gd name="connsiteY4" fmla="*/ 0 h 6858000"/>
              <a:gd name="connsiteX5" fmla="*/ 523460 w 5951540"/>
              <a:gd name="connsiteY5" fmla="*/ 0 h 6858000"/>
              <a:gd name="connsiteX6" fmla="*/ 534805 w 5951540"/>
              <a:gd name="connsiteY6" fmla="*/ 0 h 6858000"/>
              <a:gd name="connsiteX7" fmla="*/ 681736 w 5951540"/>
              <a:gd name="connsiteY7" fmla="*/ 0 h 6858000"/>
              <a:gd name="connsiteX8" fmla="*/ 818695 w 5951540"/>
              <a:gd name="connsiteY8" fmla="*/ 0 h 6858000"/>
              <a:gd name="connsiteX9" fmla="*/ 1223818 w 5951540"/>
              <a:gd name="connsiteY9" fmla="*/ 0 h 6858000"/>
              <a:gd name="connsiteX10" fmla="*/ 1522286 w 5951540"/>
              <a:gd name="connsiteY10" fmla="*/ 0 h 6858000"/>
              <a:gd name="connsiteX11" fmla="*/ 1659245 w 5951540"/>
              <a:gd name="connsiteY11" fmla="*/ 0 h 6858000"/>
              <a:gd name="connsiteX12" fmla="*/ 1814040 w 5951540"/>
              <a:gd name="connsiteY12" fmla="*/ 0 h 6858000"/>
              <a:gd name="connsiteX13" fmla="*/ 1817521 w 5951540"/>
              <a:gd name="connsiteY13" fmla="*/ 0 h 6858000"/>
              <a:gd name="connsiteX14" fmla="*/ 2064368 w 5951540"/>
              <a:gd name="connsiteY14" fmla="*/ 0 h 6858000"/>
              <a:gd name="connsiteX15" fmla="*/ 2222645 w 5951540"/>
              <a:gd name="connsiteY15" fmla="*/ 0 h 6858000"/>
              <a:gd name="connsiteX16" fmla="*/ 2337499 w 5951540"/>
              <a:gd name="connsiteY16" fmla="*/ 0 h 6858000"/>
              <a:gd name="connsiteX17" fmla="*/ 2348258 w 5951540"/>
              <a:gd name="connsiteY17" fmla="*/ 0 h 6858000"/>
              <a:gd name="connsiteX18" fmla="*/ 2348844 w 5951540"/>
              <a:gd name="connsiteY18" fmla="*/ 0 h 6858000"/>
              <a:gd name="connsiteX19" fmla="*/ 2359604 w 5951540"/>
              <a:gd name="connsiteY19" fmla="*/ 0 h 6858000"/>
              <a:gd name="connsiteX20" fmla="*/ 2474458 w 5951540"/>
              <a:gd name="connsiteY20" fmla="*/ 0 h 6858000"/>
              <a:gd name="connsiteX21" fmla="*/ 2632734 w 5951540"/>
              <a:gd name="connsiteY21" fmla="*/ 0 h 6858000"/>
              <a:gd name="connsiteX22" fmla="*/ 2879581 w 5951540"/>
              <a:gd name="connsiteY22" fmla="*/ 0 h 6858000"/>
              <a:gd name="connsiteX23" fmla="*/ 3037857 w 5951540"/>
              <a:gd name="connsiteY23" fmla="*/ 0 h 6858000"/>
              <a:gd name="connsiteX24" fmla="*/ 3163471 w 5951540"/>
              <a:gd name="connsiteY24" fmla="*/ 0 h 6858000"/>
              <a:gd name="connsiteX25" fmla="*/ 3174816 w 5951540"/>
              <a:gd name="connsiteY25" fmla="*/ 0 h 6858000"/>
              <a:gd name="connsiteX26" fmla="*/ 3473284 w 5951540"/>
              <a:gd name="connsiteY26" fmla="*/ 0 h 6858000"/>
              <a:gd name="connsiteX27" fmla="*/ 3878407 w 5951540"/>
              <a:gd name="connsiteY27" fmla="*/ 0 h 6858000"/>
              <a:gd name="connsiteX28" fmla="*/ 4000542 w 5951540"/>
              <a:gd name="connsiteY28" fmla="*/ 0 h 6858000"/>
              <a:gd name="connsiteX29" fmla="*/ 4015366 w 5951540"/>
              <a:gd name="connsiteY29" fmla="*/ 0 h 6858000"/>
              <a:gd name="connsiteX30" fmla="*/ 4173643 w 5951540"/>
              <a:gd name="connsiteY30" fmla="*/ 0 h 6858000"/>
              <a:gd name="connsiteX31" fmla="*/ 4288497 w 5951540"/>
              <a:gd name="connsiteY31" fmla="*/ 0 h 6858000"/>
              <a:gd name="connsiteX32" fmla="*/ 4299256 w 5951540"/>
              <a:gd name="connsiteY32" fmla="*/ 0 h 6858000"/>
              <a:gd name="connsiteX33" fmla="*/ 4830579 w 5951540"/>
              <a:gd name="connsiteY33" fmla="*/ 0 h 6858000"/>
              <a:gd name="connsiteX34" fmla="*/ 4988855 w 5951540"/>
              <a:gd name="connsiteY34" fmla="*/ 0 h 6858000"/>
              <a:gd name="connsiteX35" fmla="*/ 5114469 w 5951540"/>
              <a:gd name="connsiteY35" fmla="*/ 0 h 6858000"/>
              <a:gd name="connsiteX36" fmla="*/ 5829405 w 5951540"/>
              <a:gd name="connsiteY36" fmla="*/ 0 h 6858000"/>
              <a:gd name="connsiteX37" fmla="*/ 5951540 w 5951540"/>
              <a:gd name="connsiteY37" fmla="*/ 0 h 6858000"/>
              <a:gd name="connsiteX38" fmla="*/ 4751689 w 5951540"/>
              <a:gd name="connsiteY38" fmla="*/ 6858000 h 6858000"/>
              <a:gd name="connsiteX39" fmla="*/ 4629556 w 5951540"/>
              <a:gd name="connsiteY39" fmla="*/ 6858000 h 6858000"/>
              <a:gd name="connsiteX40" fmla="*/ 4288497 w 5951540"/>
              <a:gd name="connsiteY40" fmla="*/ 6858000 h 6858000"/>
              <a:gd name="connsiteX41" fmla="*/ 3914619 w 5951540"/>
              <a:gd name="connsiteY41" fmla="*/ 6858000 h 6858000"/>
              <a:gd name="connsiteX42" fmla="*/ 3789005 w 5951540"/>
              <a:gd name="connsiteY42" fmla="*/ 6858000 h 6858000"/>
              <a:gd name="connsiteX43" fmla="*/ 3630730 w 5951540"/>
              <a:gd name="connsiteY43" fmla="*/ 6858000 h 6858000"/>
              <a:gd name="connsiteX44" fmla="*/ 3473284 w 5951540"/>
              <a:gd name="connsiteY44" fmla="*/ 6858000 h 6858000"/>
              <a:gd name="connsiteX45" fmla="*/ 3099407 w 5951540"/>
              <a:gd name="connsiteY45" fmla="*/ 6858000 h 6858000"/>
              <a:gd name="connsiteX46" fmla="*/ 2973792 w 5951540"/>
              <a:gd name="connsiteY46" fmla="*/ 6858000 h 6858000"/>
              <a:gd name="connsiteX47" fmla="*/ 2815516 w 5951540"/>
              <a:gd name="connsiteY47" fmla="*/ 6858000 h 6858000"/>
              <a:gd name="connsiteX48" fmla="*/ 2800691 w 5951540"/>
              <a:gd name="connsiteY48" fmla="*/ 6858000 h 6858000"/>
              <a:gd name="connsiteX49" fmla="*/ 2678558 w 5951540"/>
              <a:gd name="connsiteY49" fmla="*/ 6858000 h 6858000"/>
              <a:gd name="connsiteX50" fmla="*/ 2632734 w 5951540"/>
              <a:gd name="connsiteY50" fmla="*/ 6858000 h 6858000"/>
              <a:gd name="connsiteX51" fmla="*/ 2474458 w 5951540"/>
              <a:gd name="connsiteY51" fmla="*/ 6858000 h 6858000"/>
              <a:gd name="connsiteX52" fmla="*/ 2348844 w 5951540"/>
              <a:gd name="connsiteY52" fmla="*/ 6858000 h 6858000"/>
              <a:gd name="connsiteX53" fmla="*/ 2337499 w 5951540"/>
              <a:gd name="connsiteY53" fmla="*/ 6858000 h 6858000"/>
              <a:gd name="connsiteX54" fmla="*/ 1974966 w 5951540"/>
              <a:gd name="connsiteY54" fmla="*/ 6858000 h 6858000"/>
              <a:gd name="connsiteX55" fmla="*/ 1963621 w 5951540"/>
              <a:gd name="connsiteY55" fmla="*/ 6858000 h 6858000"/>
              <a:gd name="connsiteX56" fmla="*/ 1838007 w 5951540"/>
              <a:gd name="connsiteY56" fmla="*/ 6858000 h 6858000"/>
              <a:gd name="connsiteX57" fmla="*/ 1817521 w 5951540"/>
              <a:gd name="connsiteY57" fmla="*/ 6858000 h 6858000"/>
              <a:gd name="connsiteX58" fmla="*/ 1814040 w 5951540"/>
              <a:gd name="connsiteY58" fmla="*/ 6858000 h 6858000"/>
              <a:gd name="connsiteX59" fmla="*/ 1679732 w 5951540"/>
              <a:gd name="connsiteY59" fmla="*/ 6858000 h 6858000"/>
              <a:gd name="connsiteX60" fmla="*/ 1659245 w 5951540"/>
              <a:gd name="connsiteY60" fmla="*/ 6858000 h 6858000"/>
              <a:gd name="connsiteX61" fmla="*/ 1522286 w 5951540"/>
              <a:gd name="connsiteY61" fmla="*/ 6858000 h 6858000"/>
              <a:gd name="connsiteX62" fmla="*/ 1159753 w 5951540"/>
              <a:gd name="connsiteY62" fmla="*/ 6858000 h 6858000"/>
              <a:gd name="connsiteX63" fmla="*/ 1148409 w 5951540"/>
              <a:gd name="connsiteY63" fmla="*/ 6858000 h 6858000"/>
              <a:gd name="connsiteX64" fmla="*/ 1022794 w 5951540"/>
              <a:gd name="connsiteY64" fmla="*/ 6858000 h 6858000"/>
              <a:gd name="connsiteX65" fmla="*/ 864518 w 5951540"/>
              <a:gd name="connsiteY65" fmla="*/ 6858000 h 6858000"/>
              <a:gd name="connsiteX66" fmla="*/ 818695 w 5951540"/>
              <a:gd name="connsiteY66" fmla="*/ 6858000 h 6858000"/>
              <a:gd name="connsiteX67" fmla="*/ 681736 w 5951540"/>
              <a:gd name="connsiteY67" fmla="*/ 6858000 h 6858000"/>
              <a:gd name="connsiteX68" fmla="*/ 534805 w 5951540"/>
              <a:gd name="connsiteY68" fmla="*/ 6858000 h 6858000"/>
              <a:gd name="connsiteX69" fmla="*/ 523460 w 5951540"/>
              <a:gd name="connsiteY69" fmla="*/ 6858000 h 6858000"/>
              <a:gd name="connsiteX70" fmla="*/ 397846 w 5951540"/>
              <a:gd name="connsiteY70" fmla="*/ 6858000 h 6858000"/>
              <a:gd name="connsiteX71" fmla="*/ 23968 w 5951540"/>
              <a:gd name="connsiteY71" fmla="*/ 6858000 h 6858000"/>
              <a:gd name="connsiteX72" fmla="*/ 3482 w 5951540"/>
              <a:gd name="connsiteY72" fmla="*/ 6858000 h 6858000"/>
              <a:gd name="connsiteX73" fmla="*/ 1 w 5951540"/>
              <a:gd name="connsiteY73" fmla="*/ 6858000 h 6858000"/>
              <a:gd name="connsiteX74" fmla="*/ 0 w 5951540"/>
              <a:gd name="connsiteY7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5951540" h="6858000">
                <a:moveTo>
                  <a:pt x="0" y="0"/>
                </a:moveTo>
                <a:lnTo>
                  <a:pt x="1" y="0"/>
                </a:lnTo>
                <a:lnTo>
                  <a:pt x="3482" y="0"/>
                </a:lnTo>
                <a:lnTo>
                  <a:pt x="397846" y="0"/>
                </a:lnTo>
                <a:lnTo>
                  <a:pt x="408606" y="0"/>
                </a:lnTo>
                <a:lnTo>
                  <a:pt x="523460" y="0"/>
                </a:lnTo>
                <a:lnTo>
                  <a:pt x="534805" y="0"/>
                </a:lnTo>
                <a:lnTo>
                  <a:pt x="681736" y="0"/>
                </a:lnTo>
                <a:lnTo>
                  <a:pt x="818695" y="0"/>
                </a:lnTo>
                <a:lnTo>
                  <a:pt x="1223818" y="0"/>
                </a:lnTo>
                <a:lnTo>
                  <a:pt x="1522286" y="0"/>
                </a:lnTo>
                <a:lnTo>
                  <a:pt x="1659245" y="0"/>
                </a:lnTo>
                <a:lnTo>
                  <a:pt x="1814040" y="0"/>
                </a:lnTo>
                <a:lnTo>
                  <a:pt x="1817521" y="0"/>
                </a:lnTo>
                <a:lnTo>
                  <a:pt x="2064368" y="0"/>
                </a:lnTo>
                <a:lnTo>
                  <a:pt x="2222645" y="0"/>
                </a:lnTo>
                <a:lnTo>
                  <a:pt x="2337499" y="0"/>
                </a:lnTo>
                <a:lnTo>
                  <a:pt x="2348258" y="0"/>
                </a:lnTo>
                <a:lnTo>
                  <a:pt x="2348844" y="0"/>
                </a:lnTo>
                <a:lnTo>
                  <a:pt x="2359604" y="0"/>
                </a:lnTo>
                <a:lnTo>
                  <a:pt x="2474458" y="0"/>
                </a:lnTo>
                <a:lnTo>
                  <a:pt x="2632734" y="0"/>
                </a:lnTo>
                <a:lnTo>
                  <a:pt x="2879581" y="0"/>
                </a:lnTo>
                <a:lnTo>
                  <a:pt x="3037857" y="0"/>
                </a:lnTo>
                <a:lnTo>
                  <a:pt x="3163471" y="0"/>
                </a:lnTo>
                <a:lnTo>
                  <a:pt x="3174816" y="0"/>
                </a:lnTo>
                <a:lnTo>
                  <a:pt x="3473284" y="0"/>
                </a:lnTo>
                <a:lnTo>
                  <a:pt x="3878407" y="0"/>
                </a:lnTo>
                <a:lnTo>
                  <a:pt x="4000542" y="0"/>
                </a:lnTo>
                <a:lnTo>
                  <a:pt x="4015366" y="0"/>
                </a:lnTo>
                <a:lnTo>
                  <a:pt x="4173643" y="0"/>
                </a:lnTo>
                <a:lnTo>
                  <a:pt x="4288497" y="0"/>
                </a:lnTo>
                <a:lnTo>
                  <a:pt x="4299256" y="0"/>
                </a:lnTo>
                <a:lnTo>
                  <a:pt x="4830579" y="0"/>
                </a:lnTo>
                <a:lnTo>
                  <a:pt x="4988855" y="0"/>
                </a:lnTo>
                <a:lnTo>
                  <a:pt x="5114469" y="0"/>
                </a:lnTo>
                <a:lnTo>
                  <a:pt x="5829405" y="0"/>
                </a:lnTo>
                <a:lnTo>
                  <a:pt x="5951540" y="0"/>
                </a:lnTo>
                <a:lnTo>
                  <a:pt x="4751689" y="6858000"/>
                </a:lnTo>
                <a:lnTo>
                  <a:pt x="4629556" y="6858000"/>
                </a:lnTo>
                <a:lnTo>
                  <a:pt x="4288497" y="6858000"/>
                </a:lnTo>
                <a:lnTo>
                  <a:pt x="3914619" y="6858000"/>
                </a:lnTo>
                <a:lnTo>
                  <a:pt x="3789005" y="6858000"/>
                </a:lnTo>
                <a:lnTo>
                  <a:pt x="3630730" y="6858000"/>
                </a:lnTo>
                <a:lnTo>
                  <a:pt x="3473284" y="6858000"/>
                </a:lnTo>
                <a:lnTo>
                  <a:pt x="3099407" y="6858000"/>
                </a:lnTo>
                <a:lnTo>
                  <a:pt x="2973792" y="6858000"/>
                </a:lnTo>
                <a:lnTo>
                  <a:pt x="2815516" y="6858000"/>
                </a:lnTo>
                <a:lnTo>
                  <a:pt x="2800691" y="6858000"/>
                </a:lnTo>
                <a:lnTo>
                  <a:pt x="2678558" y="6858000"/>
                </a:lnTo>
                <a:lnTo>
                  <a:pt x="2632734" y="6858000"/>
                </a:lnTo>
                <a:lnTo>
                  <a:pt x="2474458" y="6858000"/>
                </a:lnTo>
                <a:lnTo>
                  <a:pt x="2348844" y="6858000"/>
                </a:lnTo>
                <a:lnTo>
                  <a:pt x="2337499" y="6858000"/>
                </a:lnTo>
                <a:lnTo>
                  <a:pt x="1974966" y="6858000"/>
                </a:lnTo>
                <a:lnTo>
                  <a:pt x="1963621" y="6858000"/>
                </a:lnTo>
                <a:lnTo>
                  <a:pt x="1838007" y="6858000"/>
                </a:lnTo>
                <a:lnTo>
                  <a:pt x="1817521" y="6858000"/>
                </a:lnTo>
                <a:lnTo>
                  <a:pt x="1814040" y="6858000"/>
                </a:lnTo>
                <a:lnTo>
                  <a:pt x="1679732" y="6858000"/>
                </a:lnTo>
                <a:lnTo>
                  <a:pt x="1659245" y="6858000"/>
                </a:lnTo>
                <a:lnTo>
                  <a:pt x="1522286" y="6858000"/>
                </a:lnTo>
                <a:lnTo>
                  <a:pt x="1159753" y="6858000"/>
                </a:lnTo>
                <a:lnTo>
                  <a:pt x="1148409" y="6858000"/>
                </a:lnTo>
                <a:lnTo>
                  <a:pt x="1022794" y="6858000"/>
                </a:lnTo>
                <a:lnTo>
                  <a:pt x="864518" y="6858000"/>
                </a:lnTo>
                <a:lnTo>
                  <a:pt x="818695" y="6858000"/>
                </a:lnTo>
                <a:lnTo>
                  <a:pt x="681736" y="6858000"/>
                </a:lnTo>
                <a:lnTo>
                  <a:pt x="534805" y="6858000"/>
                </a:lnTo>
                <a:lnTo>
                  <a:pt x="523460" y="6858000"/>
                </a:lnTo>
                <a:lnTo>
                  <a:pt x="397846" y="6858000"/>
                </a:lnTo>
                <a:lnTo>
                  <a:pt x="23968" y="6858000"/>
                </a:lnTo>
                <a:lnTo>
                  <a:pt x="3482" y="6858000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0819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+ Overlay link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8FE2F768-31B7-4114-8D4D-032E4ED46F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21951E-D998-406D-8DA3-CD1E5D0FB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55C038-ADBC-4355-B701-93788356F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EEAC42-F94F-4D9A-8CB5-ED46D3DC3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7" name="SmartArt-Platzhalter 296">
            <a:extLst>
              <a:ext uri="{FF2B5EF4-FFF2-40B4-BE49-F238E27FC236}">
                <a16:creationId xmlns:a16="http://schemas.microsoft.com/office/drawing/2014/main" id="{5A909AA4-7409-4340-B373-87656CD8C6E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0566051" y="488304"/>
            <a:ext cx="1213200" cy="485482"/>
          </a:xfrm>
          <a:custGeom>
            <a:avLst/>
            <a:gdLst>
              <a:gd name="connsiteX0" fmla="*/ 1022440 w 1213200"/>
              <a:gd name="connsiteY0" fmla="*/ 413820 h 485482"/>
              <a:gd name="connsiteX1" fmla="*/ 1006795 w 1213200"/>
              <a:gd name="connsiteY1" fmla="*/ 455707 h 485482"/>
              <a:gd name="connsiteX2" fmla="*/ 1038084 w 1213200"/>
              <a:gd name="connsiteY2" fmla="*/ 455707 h 485482"/>
              <a:gd name="connsiteX3" fmla="*/ 35830 w 1213200"/>
              <a:gd name="connsiteY3" fmla="*/ 413820 h 485482"/>
              <a:gd name="connsiteX4" fmla="*/ 20186 w 1213200"/>
              <a:gd name="connsiteY4" fmla="*/ 455707 h 485482"/>
              <a:gd name="connsiteX5" fmla="*/ 51475 w 1213200"/>
              <a:gd name="connsiteY5" fmla="*/ 455707 h 485482"/>
              <a:gd name="connsiteX6" fmla="*/ 942703 w 1213200"/>
              <a:gd name="connsiteY6" fmla="*/ 412306 h 485482"/>
              <a:gd name="connsiteX7" fmla="*/ 942703 w 1213200"/>
              <a:gd name="connsiteY7" fmla="*/ 446118 h 485482"/>
              <a:gd name="connsiteX8" fmla="*/ 962906 w 1213200"/>
              <a:gd name="connsiteY8" fmla="*/ 446118 h 485482"/>
              <a:gd name="connsiteX9" fmla="*/ 979543 w 1213200"/>
              <a:gd name="connsiteY9" fmla="*/ 429212 h 485482"/>
              <a:gd name="connsiteX10" fmla="*/ 962906 w 1213200"/>
              <a:gd name="connsiteY10" fmla="*/ 412306 h 485482"/>
              <a:gd name="connsiteX11" fmla="*/ 942703 w 1213200"/>
              <a:gd name="connsiteY11" fmla="*/ 412306 h 485482"/>
              <a:gd name="connsiteX12" fmla="*/ 281095 w 1213200"/>
              <a:gd name="connsiteY12" fmla="*/ 412306 h 485482"/>
              <a:gd name="connsiteX13" fmla="*/ 281095 w 1213200"/>
              <a:gd name="connsiteY13" fmla="*/ 446118 h 485482"/>
              <a:gd name="connsiteX14" fmla="*/ 302669 w 1213200"/>
              <a:gd name="connsiteY14" fmla="*/ 446118 h 485482"/>
              <a:gd name="connsiteX15" fmla="*/ 319449 w 1213200"/>
              <a:gd name="connsiteY15" fmla="*/ 429212 h 485482"/>
              <a:gd name="connsiteX16" fmla="*/ 302669 w 1213200"/>
              <a:gd name="connsiteY16" fmla="*/ 412306 h 485482"/>
              <a:gd name="connsiteX17" fmla="*/ 281095 w 1213200"/>
              <a:gd name="connsiteY17" fmla="*/ 412306 h 485482"/>
              <a:gd name="connsiteX18" fmla="*/ 132221 w 1213200"/>
              <a:gd name="connsiteY18" fmla="*/ 412306 h 485482"/>
              <a:gd name="connsiteX19" fmla="*/ 132221 w 1213200"/>
              <a:gd name="connsiteY19" fmla="*/ 446118 h 485482"/>
              <a:gd name="connsiteX20" fmla="*/ 152525 w 1213200"/>
              <a:gd name="connsiteY20" fmla="*/ 446118 h 485482"/>
              <a:gd name="connsiteX21" fmla="*/ 168052 w 1213200"/>
              <a:gd name="connsiteY21" fmla="*/ 429212 h 485482"/>
              <a:gd name="connsiteX22" fmla="*/ 152525 w 1213200"/>
              <a:gd name="connsiteY22" fmla="*/ 412306 h 485482"/>
              <a:gd name="connsiteX23" fmla="*/ 132221 w 1213200"/>
              <a:gd name="connsiteY23" fmla="*/ 412306 h 485482"/>
              <a:gd name="connsiteX24" fmla="*/ 793576 w 1213200"/>
              <a:gd name="connsiteY24" fmla="*/ 411297 h 485482"/>
              <a:gd name="connsiteX25" fmla="*/ 772128 w 1213200"/>
              <a:gd name="connsiteY25" fmla="*/ 431575 h 485482"/>
              <a:gd name="connsiteX26" fmla="*/ 772128 w 1213200"/>
              <a:gd name="connsiteY26" fmla="*/ 456625 h 485482"/>
              <a:gd name="connsiteX27" fmla="*/ 793576 w 1213200"/>
              <a:gd name="connsiteY27" fmla="*/ 476903 h 485482"/>
              <a:gd name="connsiteX28" fmla="*/ 815024 w 1213200"/>
              <a:gd name="connsiteY28" fmla="*/ 456625 h 485482"/>
              <a:gd name="connsiteX29" fmla="*/ 815024 w 1213200"/>
              <a:gd name="connsiteY29" fmla="*/ 431575 h 485482"/>
              <a:gd name="connsiteX30" fmla="*/ 793576 w 1213200"/>
              <a:gd name="connsiteY30" fmla="*/ 411297 h 485482"/>
              <a:gd name="connsiteX31" fmla="*/ 221798 w 1213200"/>
              <a:gd name="connsiteY31" fmla="*/ 411297 h 485482"/>
              <a:gd name="connsiteX32" fmla="*/ 200350 w 1213200"/>
              <a:gd name="connsiteY32" fmla="*/ 431575 h 485482"/>
              <a:gd name="connsiteX33" fmla="*/ 200350 w 1213200"/>
              <a:gd name="connsiteY33" fmla="*/ 456625 h 485482"/>
              <a:gd name="connsiteX34" fmla="*/ 221798 w 1213200"/>
              <a:gd name="connsiteY34" fmla="*/ 476903 h 485482"/>
              <a:gd name="connsiteX35" fmla="*/ 243246 w 1213200"/>
              <a:gd name="connsiteY35" fmla="*/ 456625 h 485482"/>
              <a:gd name="connsiteX36" fmla="*/ 243246 w 1213200"/>
              <a:gd name="connsiteY36" fmla="*/ 431575 h 485482"/>
              <a:gd name="connsiteX37" fmla="*/ 221798 w 1213200"/>
              <a:gd name="connsiteY37" fmla="*/ 411297 h 485482"/>
              <a:gd name="connsiteX38" fmla="*/ 1144062 w 1213200"/>
              <a:gd name="connsiteY38" fmla="*/ 404232 h 485482"/>
              <a:gd name="connsiteX39" fmla="*/ 1154660 w 1213200"/>
              <a:gd name="connsiteY39" fmla="*/ 404232 h 485482"/>
              <a:gd name="connsiteX40" fmla="*/ 1178379 w 1213200"/>
              <a:gd name="connsiteY40" fmla="*/ 443596 h 485482"/>
              <a:gd name="connsiteX41" fmla="*/ 1201088 w 1213200"/>
              <a:gd name="connsiteY41" fmla="*/ 404232 h 485482"/>
              <a:gd name="connsiteX42" fmla="*/ 1213200 w 1213200"/>
              <a:gd name="connsiteY42" fmla="*/ 404232 h 485482"/>
              <a:gd name="connsiteX43" fmla="*/ 1183425 w 1213200"/>
              <a:gd name="connsiteY43" fmla="*/ 453184 h 485482"/>
              <a:gd name="connsiteX44" fmla="*/ 1183425 w 1213200"/>
              <a:gd name="connsiteY44" fmla="*/ 484473 h 485482"/>
              <a:gd name="connsiteX45" fmla="*/ 1173837 w 1213200"/>
              <a:gd name="connsiteY45" fmla="*/ 484473 h 485482"/>
              <a:gd name="connsiteX46" fmla="*/ 1173837 w 1213200"/>
              <a:gd name="connsiteY46" fmla="*/ 453184 h 485482"/>
              <a:gd name="connsiteX47" fmla="*/ 1071391 w 1213200"/>
              <a:gd name="connsiteY47" fmla="*/ 404232 h 485482"/>
              <a:gd name="connsiteX48" fmla="*/ 1079466 w 1213200"/>
              <a:gd name="connsiteY48" fmla="*/ 404232 h 485482"/>
              <a:gd name="connsiteX49" fmla="*/ 1121352 w 1213200"/>
              <a:gd name="connsiteY49" fmla="*/ 467315 h 485482"/>
              <a:gd name="connsiteX50" fmla="*/ 1121352 w 1213200"/>
              <a:gd name="connsiteY50" fmla="*/ 404232 h 485482"/>
              <a:gd name="connsiteX51" fmla="*/ 1130941 w 1213200"/>
              <a:gd name="connsiteY51" fmla="*/ 404232 h 485482"/>
              <a:gd name="connsiteX52" fmla="*/ 1130941 w 1213200"/>
              <a:gd name="connsiteY52" fmla="*/ 484473 h 485482"/>
              <a:gd name="connsiteX53" fmla="*/ 1122362 w 1213200"/>
              <a:gd name="connsiteY53" fmla="*/ 484473 h 485482"/>
              <a:gd name="connsiteX54" fmla="*/ 1080980 w 1213200"/>
              <a:gd name="connsiteY54" fmla="*/ 420886 h 485482"/>
              <a:gd name="connsiteX55" fmla="*/ 1080980 w 1213200"/>
              <a:gd name="connsiteY55" fmla="*/ 484473 h 485482"/>
              <a:gd name="connsiteX56" fmla="*/ 1071391 w 1213200"/>
              <a:gd name="connsiteY56" fmla="*/ 484473 h 485482"/>
              <a:gd name="connsiteX57" fmla="*/ 1017392 w 1213200"/>
              <a:gd name="connsiteY57" fmla="*/ 404232 h 485482"/>
              <a:gd name="connsiteX58" fmla="*/ 1029504 w 1213200"/>
              <a:gd name="connsiteY58" fmla="*/ 404232 h 485482"/>
              <a:gd name="connsiteX59" fmla="*/ 1058269 w 1213200"/>
              <a:gd name="connsiteY59" fmla="*/ 484473 h 485482"/>
              <a:gd name="connsiteX60" fmla="*/ 1048681 w 1213200"/>
              <a:gd name="connsiteY60" fmla="*/ 484473 h 485482"/>
              <a:gd name="connsiteX61" fmla="*/ 1040101 w 1213200"/>
              <a:gd name="connsiteY61" fmla="*/ 463782 h 485482"/>
              <a:gd name="connsiteX62" fmla="*/ 1004271 w 1213200"/>
              <a:gd name="connsiteY62" fmla="*/ 463782 h 485482"/>
              <a:gd name="connsiteX63" fmla="*/ 997205 w 1213200"/>
              <a:gd name="connsiteY63" fmla="*/ 484473 h 485482"/>
              <a:gd name="connsiteX64" fmla="*/ 987617 w 1213200"/>
              <a:gd name="connsiteY64" fmla="*/ 484473 h 485482"/>
              <a:gd name="connsiteX65" fmla="*/ 933114 w 1213200"/>
              <a:gd name="connsiteY65" fmla="*/ 404232 h 485482"/>
              <a:gd name="connsiteX66" fmla="*/ 962910 w 1213200"/>
              <a:gd name="connsiteY66" fmla="*/ 404232 h 485482"/>
              <a:gd name="connsiteX67" fmla="*/ 989131 w 1213200"/>
              <a:gd name="connsiteY67" fmla="*/ 429382 h 485482"/>
              <a:gd name="connsiteX68" fmla="*/ 962910 w 1213200"/>
              <a:gd name="connsiteY68" fmla="*/ 454532 h 485482"/>
              <a:gd name="connsiteX69" fmla="*/ 942649 w 1213200"/>
              <a:gd name="connsiteY69" fmla="*/ 454532 h 485482"/>
              <a:gd name="connsiteX70" fmla="*/ 942649 w 1213200"/>
              <a:gd name="connsiteY70" fmla="*/ 484473 h 485482"/>
              <a:gd name="connsiteX71" fmla="*/ 933114 w 1213200"/>
              <a:gd name="connsiteY71" fmla="*/ 484473 h 485482"/>
              <a:gd name="connsiteX72" fmla="*/ 843790 w 1213200"/>
              <a:gd name="connsiteY72" fmla="*/ 404232 h 485482"/>
              <a:gd name="connsiteX73" fmla="*/ 853378 w 1213200"/>
              <a:gd name="connsiteY73" fmla="*/ 404232 h 485482"/>
              <a:gd name="connsiteX74" fmla="*/ 878107 w 1213200"/>
              <a:gd name="connsiteY74" fmla="*/ 452175 h 485482"/>
              <a:gd name="connsiteX75" fmla="*/ 903340 w 1213200"/>
              <a:gd name="connsiteY75" fmla="*/ 404232 h 485482"/>
              <a:gd name="connsiteX76" fmla="*/ 912928 w 1213200"/>
              <a:gd name="connsiteY76" fmla="*/ 404232 h 485482"/>
              <a:gd name="connsiteX77" fmla="*/ 912928 w 1213200"/>
              <a:gd name="connsiteY77" fmla="*/ 484473 h 485482"/>
              <a:gd name="connsiteX78" fmla="*/ 903340 w 1213200"/>
              <a:gd name="connsiteY78" fmla="*/ 484473 h 485482"/>
              <a:gd name="connsiteX79" fmla="*/ 903340 w 1213200"/>
              <a:gd name="connsiteY79" fmla="*/ 423409 h 485482"/>
              <a:gd name="connsiteX80" fmla="*/ 878107 w 1213200"/>
              <a:gd name="connsiteY80" fmla="*/ 469838 h 485482"/>
              <a:gd name="connsiteX81" fmla="*/ 853378 w 1213200"/>
              <a:gd name="connsiteY81" fmla="*/ 423409 h 485482"/>
              <a:gd name="connsiteX82" fmla="*/ 853378 w 1213200"/>
              <a:gd name="connsiteY82" fmla="*/ 484473 h 485482"/>
              <a:gd name="connsiteX83" fmla="*/ 843790 w 1213200"/>
              <a:gd name="connsiteY83" fmla="*/ 484473 h 485482"/>
              <a:gd name="connsiteX84" fmla="*/ 579348 w 1213200"/>
              <a:gd name="connsiteY84" fmla="*/ 404232 h 485482"/>
              <a:gd name="connsiteX85" fmla="*/ 630319 w 1213200"/>
              <a:gd name="connsiteY85" fmla="*/ 404232 h 485482"/>
              <a:gd name="connsiteX86" fmla="*/ 630319 w 1213200"/>
              <a:gd name="connsiteY86" fmla="*/ 412307 h 485482"/>
              <a:gd name="connsiteX87" fmla="*/ 588937 w 1213200"/>
              <a:gd name="connsiteY87" fmla="*/ 412307 h 485482"/>
              <a:gd name="connsiteX88" fmla="*/ 588937 w 1213200"/>
              <a:gd name="connsiteY88" fmla="*/ 440063 h 485482"/>
              <a:gd name="connsiteX89" fmla="*/ 625777 w 1213200"/>
              <a:gd name="connsiteY89" fmla="*/ 440063 h 485482"/>
              <a:gd name="connsiteX90" fmla="*/ 625777 w 1213200"/>
              <a:gd name="connsiteY90" fmla="*/ 448642 h 485482"/>
              <a:gd name="connsiteX91" fmla="*/ 588937 w 1213200"/>
              <a:gd name="connsiteY91" fmla="*/ 448642 h 485482"/>
              <a:gd name="connsiteX92" fmla="*/ 588937 w 1213200"/>
              <a:gd name="connsiteY92" fmla="*/ 475894 h 485482"/>
              <a:gd name="connsiteX93" fmla="*/ 630319 w 1213200"/>
              <a:gd name="connsiteY93" fmla="*/ 475894 h 485482"/>
              <a:gd name="connsiteX94" fmla="*/ 630319 w 1213200"/>
              <a:gd name="connsiteY94" fmla="*/ 484473 h 485482"/>
              <a:gd name="connsiteX95" fmla="*/ 579348 w 1213200"/>
              <a:gd name="connsiteY95" fmla="*/ 484473 h 485482"/>
              <a:gd name="connsiteX96" fmla="*/ 499108 w 1213200"/>
              <a:gd name="connsiteY96" fmla="*/ 404232 h 485482"/>
              <a:gd name="connsiteX97" fmla="*/ 508696 w 1213200"/>
              <a:gd name="connsiteY97" fmla="*/ 404232 h 485482"/>
              <a:gd name="connsiteX98" fmla="*/ 508696 w 1213200"/>
              <a:gd name="connsiteY98" fmla="*/ 440063 h 485482"/>
              <a:gd name="connsiteX99" fmla="*/ 549574 w 1213200"/>
              <a:gd name="connsiteY99" fmla="*/ 440063 h 485482"/>
              <a:gd name="connsiteX100" fmla="*/ 549574 w 1213200"/>
              <a:gd name="connsiteY100" fmla="*/ 404232 h 485482"/>
              <a:gd name="connsiteX101" fmla="*/ 559162 w 1213200"/>
              <a:gd name="connsiteY101" fmla="*/ 404232 h 485482"/>
              <a:gd name="connsiteX102" fmla="*/ 559162 w 1213200"/>
              <a:gd name="connsiteY102" fmla="*/ 484473 h 485482"/>
              <a:gd name="connsiteX103" fmla="*/ 549574 w 1213200"/>
              <a:gd name="connsiteY103" fmla="*/ 484473 h 485482"/>
              <a:gd name="connsiteX104" fmla="*/ 549574 w 1213200"/>
              <a:gd name="connsiteY104" fmla="*/ 448642 h 485482"/>
              <a:gd name="connsiteX105" fmla="*/ 508696 w 1213200"/>
              <a:gd name="connsiteY105" fmla="*/ 448642 h 485482"/>
              <a:gd name="connsiteX106" fmla="*/ 508696 w 1213200"/>
              <a:gd name="connsiteY106" fmla="*/ 484473 h 485482"/>
              <a:gd name="connsiteX107" fmla="*/ 499108 w 1213200"/>
              <a:gd name="connsiteY107" fmla="*/ 484473 h 485482"/>
              <a:gd name="connsiteX108" fmla="*/ 272011 w 1213200"/>
              <a:gd name="connsiteY108" fmla="*/ 404232 h 485482"/>
              <a:gd name="connsiteX109" fmla="*/ 302900 w 1213200"/>
              <a:gd name="connsiteY109" fmla="*/ 404232 h 485482"/>
              <a:gd name="connsiteX110" fmla="*/ 329037 w 1213200"/>
              <a:gd name="connsiteY110" fmla="*/ 429382 h 485482"/>
              <a:gd name="connsiteX111" fmla="*/ 313592 w 1213200"/>
              <a:gd name="connsiteY111" fmla="*/ 452137 h 485482"/>
              <a:gd name="connsiteX112" fmla="*/ 329037 w 1213200"/>
              <a:gd name="connsiteY112" fmla="*/ 484473 h 485482"/>
              <a:gd name="connsiteX113" fmla="*/ 318345 w 1213200"/>
              <a:gd name="connsiteY113" fmla="*/ 484473 h 485482"/>
              <a:gd name="connsiteX114" fmla="*/ 304088 w 1213200"/>
              <a:gd name="connsiteY114" fmla="*/ 454532 h 485482"/>
              <a:gd name="connsiteX115" fmla="*/ 281515 w 1213200"/>
              <a:gd name="connsiteY115" fmla="*/ 454532 h 485482"/>
              <a:gd name="connsiteX116" fmla="*/ 281515 w 1213200"/>
              <a:gd name="connsiteY116" fmla="*/ 484473 h 485482"/>
              <a:gd name="connsiteX117" fmla="*/ 272011 w 1213200"/>
              <a:gd name="connsiteY117" fmla="*/ 484473 h 485482"/>
              <a:gd name="connsiteX118" fmla="*/ 122632 w 1213200"/>
              <a:gd name="connsiteY118" fmla="*/ 404232 h 485482"/>
              <a:gd name="connsiteX119" fmla="*/ 152428 w 1213200"/>
              <a:gd name="connsiteY119" fmla="*/ 404232 h 485482"/>
              <a:gd name="connsiteX120" fmla="*/ 178649 w 1213200"/>
              <a:gd name="connsiteY120" fmla="*/ 429382 h 485482"/>
              <a:gd name="connsiteX121" fmla="*/ 152428 w 1213200"/>
              <a:gd name="connsiteY121" fmla="*/ 454532 h 485482"/>
              <a:gd name="connsiteX122" fmla="*/ 132167 w 1213200"/>
              <a:gd name="connsiteY122" fmla="*/ 454532 h 485482"/>
              <a:gd name="connsiteX123" fmla="*/ 132167 w 1213200"/>
              <a:gd name="connsiteY123" fmla="*/ 484473 h 485482"/>
              <a:gd name="connsiteX124" fmla="*/ 122632 w 1213200"/>
              <a:gd name="connsiteY124" fmla="*/ 484473 h 485482"/>
              <a:gd name="connsiteX125" fmla="*/ 29775 w 1213200"/>
              <a:gd name="connsiteY125" fmla="*/ 404232 h 485482"/>
              <a:gd name="connsiteX126" fmla="*/ 41887 w 1213200"/>
              <a:gd name="connsiteY126" fmla="*/ 404232 h 485482"/>
              <a:gd name="connsiteX127" fmla="*/ 71662 w 1213200"/>
              <a:gd name="connsiteY127" fmla="*/ 484473 h 485482"/>
              <a:gd name="connsiteX128" fmla="*/ 61064 w 1213200"/>
              <a:gd name="connsiteY128" fmla="*/ 484473 h 485482"/>
              <a:gd name="connsiteX129" fmla="*/ 53999 w 1213200"/>
              <a:gd name="connsiteY129" fmla="*/ 463782 h 485482"/>
              <a:gd name="connsiteX130" fmla="*/ 18168 w 1213200"/>
              <a:gd name="connsiteY130" fmla="*/ 463782 h 485482"/>
              <a:gd name="connsiteX131" fmla="*/ 9589 w 1213200"/>
              <a:gd name="connsiteY131" fmla="*/ 484473 h 485482"/>
              <a:gd name="connsiteX132" fmla="*/ 0 w 1213200"/>
              <a:gd name="connsiteY132" fmla="*/ 484473 h 485482"/>
              <a:gd name="connsiteX133" fmla="*/ 793576 w 1213200"/>
              <a:gd name="connsiteY133" fmla="*/ 402718 h 485482"/>
              <a:gd name="connsiteX134" fmla="*/ 824613 w 1213200"/>
              <a:gd name="connsiteY134" fmla="*/ 431505 h 485482"/>
              <a:gd name="connsiteX135" fmla="*/ 824613 w 1213200"/>
              <a:gd name="connsiteY135" fmla="*/ 456695 h 485482"/>
              <a:gd name="connsiteX136" fmla="*/ 793576 w 1213200"/>
              <a:gd name="connsiteY136" fmla="*/ 485482 h 485482"/>
              <a:gd name="connsiteX137" fmla="*/ 762540 w 1213200"/>
              <a:gd name="connsiteY137" fmla="*/ 456695 h 485482"/>
              <a:gd name="connsiteX138" fmla="*/ 762540 w 1213200"/>
              <a:gd name="connsiteY138" fmla="*/ 431505 h 485482"/>
              <a:gd name="connsiteX139" fmla="*/ 793576 w 1213200"/>
              <a:gd name="connsiteY139" fmla="*/ 402718 h 485482"/>
              <a:gd name="connsiteX140" fmla="*/ 718476 w 1213200"/>
              <a:gd name="connsiteY140" fmla="*/ 402718 h 485482"/>
              <a:gd name="connsiteX141" fmla="*/ 748409 w 1213200"/>
              <a:gd name="connsiteY141" fmla="*/ 429107 h 485482"/>
              <a:gd name="connsiteX142" fmla="*/ 748409 w 1213200"/>
              <a:gd name="connsiteY142" fmla="*/ 430306 h 485482"/>
              <a:gd name="connsiteX143" fmla="*/ 738830 w 1213200"/>
              <a:gd name="connsiteY143" fmla="*/ 430306 h 485482"/>
              <a:gd name="connsiteX144" fmla="*/ 738830 w 1213200"/>
              <a:gd name="connsiteY144" fmla="*/ 429107 h 485482"/>
              <a:gd name="connsiteX145" fmla="*/ 718476 w 1213200"/>
              <a:gd name="connsiteY145" fmla="*/ 411114 h 485482"/>
              <a:gd name="connsiteX146" fmla="*/ 696924 w 1213200"/>
              <a:gd name="connsiteY146" fmla="*/ 431505 h 485482"/>
              <a:gd name="connsiteX147" fmla="*/ 696924 w 1213200"/>
              <a:gd name="connsiteY147" fmla="*/ 456695 h 485482"/>
              <a:gd name="connsiteX148" fmla="*/ 718476 w 1213200"/>
              <a:gd name="connsiteY148" fmla="*/ 477086 h 485482"/>
              <a:gd name="connsiteX149" fmla="*/ 738830 w 1213200"/>
              <a:gd name="connsiteY149" fmla="*/ 459093 h 485482"/>
              <a:gd name="connsiteX150" fmla="*/ 748409 w 1213200"/>
              <a:gd name="connsiteY150" fmla="*/ 459093 h 485482"/>
              <a:gd name="connsiteX151" fmla="*/ 718476 w 1213200"/>
              <a:gd name="connsiteY151" fmla="*/ 485482 h 485482"/>
              <a:gd name="connsiteX152" fmla="*/ 687345 w 1213200"/>
              <a:gd name="connsiteY152" fmla="*/ 456695 h 485482"/>
              <a:gd name="connsiteX153" fmla="*/ 687345 w 1213200"/>
              <a:gd name="connsiteY153" fmla="*/ 431505 h 485482"/>
              <a:gd name="connsiteX154" fmla="*/ 718476 w 1213200"/>
              <a:gd name="connsiteY154" fmla="*/ 402718 h 485482"/>
              <a:gd name="connsiteX155" fmla="*/ 450572 w 1213200"/>
              <a:gd name="connsiteY155" fmla="*/ 402718 h 485482"/>
              <a:gd name="connsiteX156" fmla="*/ 481445 w 1213200"/>
              <a:gd name="connsiteY156" fmla="*/ 429107 h 485482"/>
              <a:gd name="connsiteX157" fmla="*/ 481445 w 1213200"/>
              <a:gd name="connsiteY157" fmla="*/ 430306 h 485482"/>
              <a:gd name="connsiteX158" fmla="*/ 471946 w 1213200"/>
              <a:gd name="connsiteY158" fmla="*/ 430306 h 485482"/>
              <a:gd name="connsiteX159" fmla="*/ 471946 w 1213200"/>
              <a:gd name="connsiteY159" fmla="*/ 429107 h 485482"/>
              <a:gd name="connsiteX160" fmla="*/ 450572 w 1213200"/>
              <a:gd name="connsiteY160" fmla="*/ 411114 h 485482"/>
              <a:gd name="connsiteX161" fmla="*/ 430385 w 1213200"/>
              <a:gd name="connsiteY161" fmla="*/ 431505 h 485482"/>
              <a:gd name="connsiteX162" fmla="*/ 430385 w 1213200"/>
              <a:gd name="connsiteY162" fmla="*/ 456695 h 485482"/>
              <a:gd name="connsiteX163" fmla="*/ 450572 w 1213200"/>
              <a:gd name="connsiteY163" fmla="*/ 477086 h 485482"/>
              <a:gd name="connsiteX164" fmla="*/ 471946 w 1213200"/>
              <a:gd name="connsiteY164" fmla="*/ 459093 h 485482"/>
              <a:gd name="connsiteX165" fmla="*/ 481445 w 1213200"/>
              <a:gd name="connsiteY165" fmla="*/ 459093 h 485482"/>
              <a:gd name="connsiteX166" fmla="*/ 450572 w 1213200"/>
              <a:gd name="connsiteY166" fmla="*/ 485482 h 485482"/>
              <a:gd name="connsiteX167" fmla="*/ 420886 w 1213200"/>
              <a:gd name="connsiteY167" fmla="*/ 456695 h 485482"/>
              <a:gd name="connsiteX168" fmla="*/ 420886 w 1213200"/>
              <a:gd name="connsiteY168" fmla="*/ 431505 h 485482"/>
              <a:gd name="connsiteX169" fmla="*/ 450572 w 1213200"/>
              <a:gd name="connsiteY169" fmla="*/ 402718 h 485482"/>
              <a:gd name="connsiteX170" fmla="*/ 374364 w 1213200"/>
              <a:gd name="connsiteY170" fmla="*/ 402718 h 485482"/>
              <a:gd name="connsiteX171" fmla="*/ 403036 w 1213200"/>
              <a:gd name="connsiteY171" fmla="*/ 426708 h 485482"/>
              <a:gd name="connsiteX172" fmla="*/ 403036 w 1213200"/>
              <a:gd name="connsiteY172" fmla="*/ 427907 h 485482"/>
              <a:gd name="connsiteX173" fmla="*/ 393479 w 1213200"/>
              <a:gd name="connsiteY173" fmla="*/ 427907 h 485482"/>
              <a:gd name="connsiteX174" fmla="*/ 393479 w 1213200"/>
              <a:gd name="connsiteY174" fmla="*/ 426708 h 485482"/>
              <a:gd name="connsiteX175" fmla="*/ 374364 w 1213200"/>
              <a:gd name="connsiteY175" fmla="*/ 411114 h 485482"/>
              <a:gd name="connsiteX176" fmla="*/ 356443 w 1213200"/>
              <a:gd name="connsiteY176" fmla="*/ 424309 h 485482"/>
              <a:gd name="connsiteX177" fmla="*/ 368390 w 1213200"/>
              <a:gd name="connsiteY177" fmla="*/ 437503 h 485482"/>
              <a:gd name="connsiteX178" fmla="*/ 383921 w 1213200"/>
              <a:gd name="connsiteY178" fmla="*/ 441101 h 485482"/>
              <a:gd name="connsiteX179" fmla="*/ 404231 w 1213200"/>
              <a:gd name="connsiteY179" fmla="*/ 462692 h 485482"/>
              <a:gd name="connsiteX180" fmla="*/ 374364 w 1213200"/>
              <a:gd name="connsiteY180" fmla="*/ 485482 h 485482"/>
              <a:gd name="connsiteX181" fmla="*/ 345691 w 1213200"/>
              <a:gd name="connsiteY181" fmla="*/ 461492 h 485482"/>
              <a:gd name="connsiteX182" fmla="*/ 345691 w 1213200"/>
              <a:gd name="connsiteY182" fmla="*/ 460293 h 485482"/>
              <a:gd name="connsiteX183" fmla="*/ 355249 w 1213200"/>
              <a:gd name="connsiteY183" fmla="*/ 460293 h 485482"/>
              <a:gd name="connsiteX184" fmla="*/ 355249 w 1213200"/>
              <a:gd name="connsiteY184" fmla="*/ 461492 h 485482"/>
              <a:gd name="connsiteX185" fmla="*/ 374364 w 1213200"/>
              <a:gd name="connsiteY185" fmla="*/ 477086 h 485482"/>
              <a:gd name="connsiteX186" fmla="*/ 393479 w 1213200"/>
              <a:gd name="connsiteY186" fmla="*/ 462692 h 485482"/>
              <a:gd name="connsiteX187" fmla="*/ 381532 w 1213200"/>
              <a:gd name="connsiteY187" fmla="*/ 449498 h 485482"/>
              <a:gd name="connsiteX188" fmla="*/ 366001 w 1213200"/>
              <a:gd name="connsiteY188" fmla="*/ 447099 h 485482"/>
              <a:gd name="connsiteX189" fmla="*/ 346886 w 1213200"/>
              <a:gd name="connsiteY189" fmla="*/ 425508 h 485482"/>
              <a:gd name="connsiteX190" fmla="*/ 374364 w 1213200"/>
              <a:gd name="connsiteY190" fmla="*/ 402718 h 485482"/>
              <a:gd name="connsiteX191" fmla="*/ 221798 w 1213200"/>
              <a:gd name="connsiteY191" fmla="*/ 402718 h 485482"/>
              <a:gd name="connsiteX192" fmla="*/ 252834 w 1213200"/>
              <a:gd name="connsiteY192" fmla="*/ 431505 h 485482"/>
              <a:gd name="connsiteX193" fmla="*/ 252834 w 1213200"/>
              <a:gd name="connsiteY193" fmla="*/ 456695 h 485482"/>
              <a:gd name="connsiteX194" fmla="*/ 221798 w 1213200"/>
              <a:gd name="connsiteY194" fmla="*/ 485482 h 485482"/>
              <a:gd name="connsiteX195" fmla="*/ 190761 w 1213200"/>
              <a:gd name="connsiteY195" fmla="*/ 456695 h 485482"/>
              <a:gd name="connsiteX196" fmla="*/ 190761 w 1213200"/>
              <a:gd name="connsiteY196" fmla="*/ 431505 h 485482"/>
              <a:gd name="connsiteX197" fmla="*/ 221798 w 1213200"/>
              <a:gd name="connsiteY197" fmla="*/ 402718 h 485482"/>
              <a:gd name="connsiteX198" fmla="*/ 1049691 w 1213200"/>
              <a:gd name="connsiteY198" fmla="*/ 43905 h 485482"/>
              <a:gd name="connsiteX199" fmla="*/ 1049691 w 1213200"/>
              <a:gd name="connsiteY199" fmla="*/ 130202 h 485482"/>
              <a:gd name="connsiteX200" fmla="*/ 1114157 w 1213200"/>
              <a:gd name="connsiteY200" fmla="*/ 130202 h 485482"/>
              <a:gd name="connsiteX201" fmla="*/ 1160716 w 1213200"/>
              <a:gd name="connsiteY201" fmla="*/ 87054 h 485482"/>
              <a:gd name="connsiteX202" fmla="*/ 1114157 w 1213200"/>
              <a:gd name="connsiteY202" fmla="*/ 43905 h 485482"/>
              <a:gd name="connsiteX203" fmla="*/ 1049691 w 1213200"/>
              <a:gd name="connsiteY203" fmla="*/ 43905 h 485482"/>
              <a:gd name="connsiteX204" fmla="*/ 999729 w 1213200"/>
              <a:gd name="connsiteY204" fmla="*/ 0 h 485482"/>
              <a:gd name="connsiteX205" fmla="*/ 1115234 w 1213200"/>
              <a:gd name="connsiteY205" fmla="*/ 0 h 485482"/>
              <a:gd name="connsiteX206" fmla="*/ 1211686 w 1213200"/>
              <a:gd name="connsiteY206" fmla="*/ 87253 h 485482"/>
              <a:gd name="connsiteX207" fmla="*/ 1115234 w 1213200"/>
              <a:gd name="connsiteY207" fmla="*/ 173311 h 485482"/>
              <a:gd name="connsiteX208" fmla="*/ 1049741 w 1213200"/>
              <a:gd name="connsiteY208" fmla="*/ 173311 h 485482"/>
              <a:gd name="connsiteX209" fmla="*/ 1049741 w 1213200"/>
              <a:gd name="connsiteY209" fmla="*/ 295226 h 485482"/>
              <a:gd name="connsiteX210" fmla="*/ 999729 w 1213200"/>
              <a:gd name="connsiteY210" fmla="*/ 295226 h 485482"/>
              <a:gd name="connsiteX211" fmla="*/ 999729 w 1213200"/>
              <a:gd name="connsiteY211" fmla="*/ 0 h 485482"/>
              <a:gd name="connsiteX212" fmla="*/ 717625 w 1213200"/>
              <a:gd name="connsiteY212" fmla="*/ 0 h 485482"/>
              <a:gd name="connsiteX213" fmla="*/ 767586 w 1213200"/>
              <a:gd name="connsiteY213" fmla="*/ 0 h 485482"/>
              <a:gd name="connsiteX214" fmla="*/ 767586 w 1213200"/>
              <a:gd name="connsiteY214" fmla="*/ 129193 h 485482"/>
              <a:gd name="connsiteX215" fmla="*/ 893751 w 1213200"/>
              <a:gd name="connsiteY215" fmla="*/ 129193 h 485482"/>
              <a:gd name="connsiteX216" fmla="*/ 893751 w 1213200"/>
              <a:gd name="connsiteY216" fmla="*/ 0 h 485482"/>
              <a:gd name="connsiteX217" fmla="*/ 943712 w 1213200"/>
              <a:gd name="connsiteY217" fmla="*/ 0 h 485482"/>
              <a:gd name="connsiteX218" fmla="*/ 943712 w 1213200"/>
              <a:gd name="connsiteY218" fmla="*/ 295226 h 485482"/>
              <a:gd name="connsiteX219" fmla="*/ 893751 w 1213200"/>
              <a:gd name="connsiteY219" fmla="*/ 295226 h 485482"/>
              <a:gd name="connsiteX220" fmla="*/ 893751 w 1213200"/>
              <a:gd name="connsiteY220" fmla="*/ 173098 h 485482"/>
              <a:gd name="connsiteX221" fmla="*/ 767586 w 1213200"/>
              <a:gd name="connsiteY221" fmla="*/ 173098 h 485482"/>
              <a:gd name="connsiteX222" fmla="*/ 767586 w 1213200"/>
              <a:gd name="connsiteY222" fmla="*/ 295226 h 485482"/>
              <a:gd name="connsiteX223" fmla="*/ 717625 w 1213200"/>
              <a:gd name="connsiteY223" fmla="*/ 295226 h 485482"/>
              <a:gd name="connsiteX224" fmla="*/ 401708 w 1213200"/>
              <a:gd name="connsiteY224" fmla="*/ 0 h 485482"/>
              <a:gd name="connsiteX225" fmla="*/ 448137 w 1213200"/>
              <a:gd name="connsiteY225" fmla="*/ 0 h 485482"/>
              <a:gd name="connsiteX226" fmla="*/ 531405 w 1213200"/>
              <a:gd name="connsiteY226" fmla="*/ 135249 h 485482"/>
              <a:gd name="connsiteX227" fmla="*/ 616188 w 1213200"/>
              <a:gd name="connsiteY227" fmla="*/ 0 h 485482"/>
              <a:gd name="connsiteX228" fmla="*/ 661607 w 1213200"/>
              <a:gd name="connsiteY228" fmla="*/ 0 h 485482"/>
              <a:gd name="connsiteX229" fmla="*/ 661607 w 1213200"/>
              <a:gd name="connsiteY229" fmla="*/ 295226 h 485482"/>
              <a:gd name="connsiteX230" fmla="*/ 612655 w 1213200"/>
              <a:gd name="connsiteY230" fmla="*/ 295226 h 485482"/>
              <a:gd name="connsiteX231" fmla="*/ 612655 w 1213200"/>
              <a:gd name="connsiteY231" fmla="*/ 93362 h 485482"/>
              <a:gd name="connsiteX232" fmla="*/ 531405 w 1213200"/>
              <a:gd name="connsiteY232" fmla="*/ 221041 h 485482"/>
              <a:gd name="connsiteX233" fmla="*/ 451669 w 1213200"/>
              <a:gd name="connsiteY233" fmla="*/ 93362 h 485482"/>
              <a:gd name="connsiteX234" fmla="*/ 451669 w 1213200"/>
              <a:gd name="connsiteY234" fmla="*/ 295226 h 485482"/>
              <a:gd name="connsiteX235" fmla="*/ 401708 w 1213200"/>
              <a:gd name="connsiteY235" fmla="*/ 295226 h 485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</a:cxnLst>
            <a:rect l="l" t="t" r="r" b="b"/>
            <a:pathLst>
              <a:path w="1213200" h="485482">
                <a:moveTo>
                  <a:pt x="1022440" y="413820"/>
                </a:moveTo>
                <a:lnTo>
                  <a:pt x="1006795" y="455707"/>
                </a:lnTo>
                <a:lnTo>
                  <a:pt x="1038084" y="455707"/>
                </a:lnTo>
                <a:close/>
                <a:moveTo>
                  <a:pt x="35830" y="413820"/>
                </a:moveTo>
                <a:lnTo>
                  <a:pt x="20186" y="455707"/>
                </a:lnTo>
                <a:lnTo>
                  <a:pt x="51475" y="455707"/>
                </a:lnTo>
                <a:close/>
                <a:moveTo>
                  <a:pt x="942703" y="412306"/>
                </a:moveTo>
                <a:lnTo>
                  <a:pt x="942703" y="446118"/>
                </a:lnTo>
                <a:cubicBezTo>
                  <a:pt x="962906" y="446118"/>
                  <a:pt x="962906" y="446118"/>
                  <a:pt x="962906" y="446118"/>
                </a:cubicBezTo>
                <a:cubicBezTo>
                  <a:pt x="972413" y="446118"/>
                  <a:pt x="979543" y="441288"/>
                  <a:pt x="979543" y="429212"/>
                </a:cubicBezTo>
                <a:cubicBezTo>
                  <a:pt x="979543" y="417136"/>
                  <a:pt x="972413" y="412306"/>
                  <a:pt x="962906" y="412306"/>
                </a:cubicBezTo>
                <a:cubicBezTo>
                  <a:pt x="942703" y="412306"/>
                  <a:pt x="942703" y="412306"/>
                  <a:pt x="942703" y="412306"/>
                </a:cubicBezTo>
                <a:close/>
                <a:moveTo>
                  <a:pt x="281095" y="412306"/>
                </a:moveTo>
                <a:lnTo>
                  <a:pt x="281095" y="446118"/>
                </a:lnTo>
                <a:cubicBezTo>
                  <a:pt x="302669" y="446118"/>
                  <a:pt x="302669" y="446118"/>
                  <a:pt x="302669" y="446118"/>
                </a:cubicBezTo>
                <a:cubicBezTo>
                  <a:pt x="312258" y="446118"/>
                  <a:pt x="319449" y="441288"/>
                  <a:pt x="319449" y="429212"/>
                </a:cubicBezTo>
                <a:cubicBezTo>
                  <a:pt x="319449" y="417136"/>
                  <a:pt x="312258" y="412306"/>
                  <a:pt x="302669" y="412306"/>
                </a:cubicBezTo>
                <a:cubicBezTo>
                  <a:pt x="281095" y="412306"/>
                  <a:pt x="281095" y="412306"/>
                  <a:pt x="281095" y="412306"/>
                </a:cubicBezTo>
                <a:close/>
                <a:moveTo>
                  <a:pt x="132221" y="412306"/>
                </a:moveTo>
                <a:lnTo>
                  <a:pt x="132221" y="446118"/>
                </a:lnTo>
                <a:cubicBezTo>
                  <a:pt x="152525" y="446118"/>
                  <a:pt x="152525" y="446118"/>
                  <a:pt x="152525" y="446118"/>
                </a:cubicBezTo>
                <a:cubicBezTo>
                  <a:pt x="162080" y="446118"/>
                  <a:pt x="168052" y="441288"/>
                  <a:pt x="168052" y="429212"/>
                </a:cubicBezTo>
                <a:cubicBezTo>
                  <a:pt x="168052" y="417136"/>
                  <a:pt x="162080" y="412306"/>
                  <a:pt x="152525" y="412306"/>
                </a:cubicBezTo>
                <a:cubicBezTo>
                  <a:pt x="132221" y="412306"/>
                  <a:pt x="132221" y="412306"/>
                  <a:pt x="132221" y="412306"/>
                </a:cubicBezTo>
                <a:close/>
                <a:moveTo>
                  <a:pt x="793576" y="411297"/>
                </a:moveTo>
                <a:cubicBezTo>
                  <a:pt x="780469" y="411297"/>
                  <a:pt x="772128" y="418454"/>
                  <a:pt x="772128" y="431575"/>
                </a:cubicBezTo>
                <a:cubicBezTo>
                  <a:pt x="772128" y="456625"/>
                  <a:pt x="772128" y="456625"/>
                  <a:pt x="772128" y="456625"/>
                </a:cubicBezTo>
                <a:cubicBezTo>
                  <a:pt x="772128" y="469746"/>
                  <a:pt x="780469" y="476903"/>
                  <a:pt x="793576" y="476903"/>
                </a:cubicBezTo>
                <a:cubicBezTo>
                  <a:pt x="807875" y="476903"/>
                  <a:pt x="815024" y="469746"/>
                  <a:pt x="815024" y="456625"/>
                </a:cubicBezTo>
                <a:lnTo>
                  <a:pt x="815024" y="431575"/>
                </a:lnTo>
                <a:cubicBezTo>
                  <a:pt x="815024" y="418454"/>
                  <a:pt x="807875" y="411297"/>
                  <a:pt x="793576" y="411297"/>
                </a:cubicBezTo>
                <a:close/>
                <a:moveTo>
                  <a:pt x="221798" y="411297"/>
                </a:moveTo>
                <a:cubicBezTo>
                  <a:pt x="207499" y="411297"/>
                  <a:pt x="200350" y="418454"/>
                  <a:pt x="200350" y="431575"/>
                </a:cubicBezTo>
                <a:cubicBezTo>
                  <a:pt x="200350" y="456625"/>
                  <a:pt x="200350" y="456625"/>
                  <a:pt x="200350" y="456625"/>
                </a:cubicBezTo>
                <a:cubicBezTo>
                  <a:pt x="200350" y="469746"/>
                  <a:pt x="207499" y="476903"/>
                  <a:pt x="221798" y="476903"/>
                </a:cubicBezTo>
                <a:cubicBezTo>
                  <a:pt x="234905" y="476903"/>
                  <a:pt x="243246" y="469746"/>
                  <a:pt x="243246" y="456625"/>
                </a:cubicBezTo>
                <a:lnTo>
                  <a:pt x="243246" y="431575"/>
                </a:lnTo>
                <a:cubicBezTo>
                  <a:pt x="243246" y="418454"/>
                  <a:pt x="234905" y="411297"/>
                  <a:pt x="221798" y="411297"/>
                </a:cubicBezTo>
                <a:close/>
                <a:moveTo>
                  <a:pt x="1144062" y="404232"/>
                </a:moveTo>
                <a:lnTo>
                  <a:pt x="1154660" y="404232"/>
                </a:lnTo>
                <a:lnTo>
                  <a:pt x="1178379" y="443596"/>
                </a:lnTo>
                <a:lnTo>
                  <a:pt x="1201088" y="404232"/>
                </a:lnTo>
                <a:lnTo>
                  <a:pt x="1213200" y="404232"/>
                </a:lnTo>
                <a:lnTo>
                  <a:pt x="1183425" y="453184"/>
                </a:lnTo>
                <a:lnTo>
                  <a:pt x="1183425" y="484473"/>
                </a:lnTo>
                <a:lnTo>
                  <a:pt x="1173837" y="484473"/>
                </a:lnTo>
                <a:lnTo>
                  <a:pt x="1173837" y="453184"/>
                </a:lnTo>
                <a:close/>
                <a:moveTo>
                  <a:pt x="1071391" y="404232"/>
                </a:moveTo>
                <a:lnTo>
                  <a:pt x="1079466" y="404232"/>
                </a:lnTo>
                <a:lnTo>
                  <a:pt x="1121352" y="467315"/>
                </a:lnTo>
                <a:lnTo>
                  <a:pt x="1121352" y="404232"/>
                </a:lnTo>
                <a:lnTo>
                  <a:pt x="1130941" y="404232"/>
                </a:lnTo>
                <a:lnTo>
                  <a:pt x="1130941" y="484473"/>
                </a:lnTo>
                <a:lnTo>
                  <a:pt x="1122362" y="484473"/>
                </a:lnTo>
                <a:lnTo>
                  <a:pt x="1080980" y="420886"/>
                </a:lnTo>
                <a:lnTo>
                  <a:pt x="1080980" y="484473"/>
                </a:lnTo>
                <a:lnTo>
                  <a:pt x="1071391" y="484473"/>
                </a:lnTo>
                <a:close/>
                <a:moveTo>
                  <a:pt x="1017392" y="404232"/>
                </a:moveTo>
                <a:lnTo>
                  <a:pt x="1029504" y="404232"/>
                </a:lnTo>
                <a:lnTo>
                  <a:pt x="1058269" y="484473"/>
                </a:lnTo>
                <a:lnTo>
                  <a:pt x="1048681" y="484473"/>
                </a:lnTo>
                <a:lnTo>
                  <a:pt x="1040101" y="463782"/>
                </a:lnTo>
                <a:lnTo>
                  <a:pt x="1004271" y="463782"/>
                </a:lnTo>
                <a:lnTo>
                  <a:pt x="997205" y="484473"/>
                </a:lnTo>
                <a:lnTo>
                  <a:pt x="987617" y="484473"/>
                </a:lnTo>
                <a:close/>
                <a:moveTo>
                  <a:pt x="933114" y="404232"/>
                </a:moveTo>
                <a:cubicBezTo>
                  <a:pt x="962910" y="404232"/>
                  <a:pt x="962910" y="404232"/>
                  <a:pt x="962910" y="404232"/>
                </a:cubicBezTo>
                <a:cubicBezTo>
                  <a:pt x="978404" y="404232"/>
                  <a:pt x="989131" y="411418"/>
                  <a:pt x="989131" y="429382"/>
                </a:cubicBezTo>
                <a:cubicBezTo>
                  <a:pt x="989131" y="446149"/>
                  <a:pt x="978404" y="454532"/>
                  <a:pt x="962910" y="454532"/>
                </a:cubicBezTo>
                <a:cubicBezTo>
                  <a:pt x="942649" y="454532"/>
                  <a:pt x="942649" y="454532"/>
                  <a:pt x="942649" y="454532"/>
                </a:cubicBezTo>
                <a:cubicBezTo>
                  <a:pt x="942649" y="484473"/>
                  <a:pt x="942649" y="484473"/>
                  <a:pt x="942649" y="484473"/>
                </a:cubicBezTo>
                <a:cubicBezTo>
                  <a:pt x="933114" y="484473"/>
                  <a:pt x="933114" y="484473"/>
                  <a:pt x="933114" y="484473"/>
                </a:cubicBezTo>
                <a:close/>
                <a:moveTo>
                  <a:pt x="843790" y="404232"/>
                </a:moveTo>
                <a:lnTo>
                  <a:pt x="853378" y="404232"/>
                </a:lnTo>
                <a:lnTo>
                  <a:pt x="878107" y="452175"/>
                </a:lnTo>
                <a:lnTo>
                  <a:pt x="903340" y="404232"/>
                </a:lnTo>
                <a:lnTo>
                  <a:pt x="912928" y="404232"/>
                </a:lnTo>
                <a:lnTo>
                  <a:pt x="912928" y="484473"/>
                </a:lnTo>
                <a:lnTo>
                  <a:pt x="903340" y="484473"/>
                </a:lnTo>
                <a:lnTo>
                  <a:pt x="903340" y="423409"/>
                </a:lnTo>
                <a:lnTo>
                  <a:pt x="878107" y="469838"/>
                </a:lnTo>
                <a:lnTo>
                  <a:pt x="853378" y="423409"/>
                </a:lnTo>
                <a:lnTo>
                  <a:pt x="853378" y="484473"/>
                </a:lnTo>
                <a:lnTo>
                  <a:pt x="843790" y="484473"/>
                </a:lnTo>
                <a:close/>
                <a:moveTo>
                  <a:pt x="579348" y="404232"/>
                </a:moveTo>
                <a:lnTo>
                  <a:pt x="630319" y="404232"/>
                </a:lnTo>
                <a:lnTo>
                  <a:pt x="630319" y="412307"/>
                </a:lnTo>
                <a:lnTo>
                  <a:pt x="588937" y="412307"/>
                </a:lnTo>
                <a:lnTo>
                  <a:pt x="588937" y="440063"/>
                </a:lnTo>
                <a:lnTo>
                  <a:pt x="625777" y="440063"/>
                </a:lnTo>
                <a:lnTo>
                  <a:pt x="625777" y="448642"/>
                </a:lnTo>
                <a:lnTo>
                  <a:pt x="588937" y="448642"/>
                </a:lnTo>
                <a:lnTo>
                  <a:pt x="588937" y="475894"/>
                </a:lnTo>
                <a:lnTo>
                  <a:pt x="630319" y="475894"/>
                </a:lnTo>
                <a:lnTo>
                  <a:pt x="630319" y="484473"/>
                </a:lnTo>
                <a:lnTo>
                  <a:pt x="579348" y="484473"/>
                </a:lnTo>
                <a:close/>
                <a:moveTo>
                  <a:pt x="499108" y="404232"/>
                </a:moveTo>
                <a:lnTo>
                  <a:pt x="508696" y="404232"/>
                </a:lnTo>
                <a:lnTo>
                  <a:pt x="508696" y="440063"/>
                </a:lnTo>
                <a:lnTo>
                  <a:pt x="549574" y="440063"/>
                </a:lnTo>
                <a:lnTo>
                  <a:pt x="549574" y="404232"/>
                </a:lnTo>
                <a:lnTo>
                  <a:pt x="559162" y="404232"/>
                </a:lnTo>
                <a:lnTo>
                  <a:pt x="559162" y="484473"/>
                </a:lnTo>
                <a:lnTo>
                  <a:pt x="549574" y="484473"/>
                </a:lnTo>
                <a:lnTo>
                  <a:pt x="549574" y="448642"/>
                </a:lnTo>
                <a:lnTo>
                  <a:pt x="508696" y="448642"/>
                </a:lnTo>
                <a:lnTo>
                  <a:pt x="508696" y="484473"/>
                </a:lnTo>
                <a:lnTo>
                  <a:pt x="499108" y="484473"/>
                </a:lnTo>
                <a:close/>
                <a:moveTo>
                  <a:pt x="272011" y="404232"/>
                </a:moveTo>
                <a:cubicBezTo>
                  <a:pt x="302900" y="404232"/>
                  <a:pt x="302900" y="404232"/>
                  <a:pt x="302900" y="404232"/>
                </a:cubicBezTo>
                <a:cubicBezTo>
                  <a:pt x="318345" y="404232"/>
                  <a:pt x="329037" y="411418"/>
                  <a:pt x="329037" y="429382"/>
                </a:cubicBezTo>
                <a:cubicBezTo>
                  <a:pt x="329037" y="442556"/>
                  <a:pt x="323097" y="449742"/>
                  <a:pt x="313592" y="452137"/>
                </a:cubicBezTo>
                <a:cubicBezTo>
                  <a:pt x="329037" y="484473"/>
                  <a:pt x="329037" y="484473"/>
                  <a:pt x="329037" y="484473"/>
                </a:cubicBezTo>
                <a:cubicBezTo>
                  <a:pt x="318345" y="484473"/>
                  <a:pt x="318345" y="484473"/>
                  <a:pt x="318345" y="484473"/>
                </a:cubicBezTo>
                <a:cubicBezTo>
                  <a:pt x="304088" y="454532"/>
                  <a:pt x="304088" y="454532"/>
                  <a:pt x="304088" y="454532"/>
                </a:cubicBezTo>
                <a:cubicBezTo>
                  <a:pt x="281515" y="454532"/>
                  <a:pt x="281515" y="454532"/>
                  <a:pt x="281515" y="454532"/>
                </a:cubicBezTo>
                <a:cubicBezTo>
                  <a:pt x="281515" y="484473"/>
                  <a:pt x="281515" y="484473"/>
                  <a:pt x="281515" y="484473"/>
                </a:cubicBezTo>
                <a:cubicBezTo>
                  <a:pt x="272011" y="484473"/>
                  <a:pt x="272011" y="484473"/>
                  <a:pt x="272011" y="484473"/>
                </a:cubicBezTo>
                <a:close/>
                <a:moveTo>
                  <a:pt x="122632" y="404232"/>
                </a:moveTo>
                <a:cubicBezTo>
                  <a:pt x="152428" y="404232"/>
                  <a:pt x="152428" y="404232"/>
                  <a:pt x="152428" y="404232"/>
                </a:cubicBezTo>
                <a:cubicBezTo>
                  <a:pt x="167922" y="404232"/>
                  <a:pt x="178649" y="411418"/>
                  <a:pt x="178649" y="429382"/>
                </a:cubicBezTo>
                <a:cubicBezTo>
                  <a:pt x="178649" y="446149"/>
                  <a:pt x="167922" y="454532"/>
                  <a:pt x="152428" y="454532"/>
                </a:cubicBezTo>
                <a:cubicBezTo>
                  <a:pt x="132167" y="454532"/>
                  <a:pt x="132167" y="454532"/>
                  <a:pt x="132167" y="454532"/>
                </a:cubicBezTo>
                <a:cubicBezTo>
                  <a:pt x="132167" y="484473"/>
                  <a:pt x="132167" y="484473"/>
                  <a:pt x="132167" y="484473"/>
                </a:cubicBezTo>
                <a:cubicBezTo>
                  <a:pt x="122632" y="484473"/>
                  <a:pt x="122632" y="484473"/>
                  <a:pt x="122632" y="484473"/>
                </a:cubicBezTo>
                <a:close/>
                <a:moveTo>
                  <a:pt x="29775" y="404232"/>
                </a:moveTo>
                <a:lnTo>
                  <a:pt x="41887" y="404232"/>
                </a:lnTo>
                <a:lnTo>
                  <a:pt x="71662" y="484473"/>
                </a:lnTo>
                <a:lnTo>
                  <a:pt x="61064" y="484473"/>
                </a:lnTo>
                <a:lnTo>
                  <a:pt x="53999" y="463782"/>
                </a:lnTo>
                <a:lnTo>
                  <a:pt x="18168" y="463782"/>
                </a:lnTo>
                <a:lnTo>
                  <a:pt x="9589" y="484473"/>
                </a:lnTo>
                <a:lnTo>
                  <a:pt x="0" y="484473"/>
                </a:lnTo>
                <a:close/>
                <a:moveTo>
                  <a:pt x="793576" y="402718"/>
                </a:moveTo>
                <a:cubicBezTo>
                  <a:pt x="812676" y="402718"/>
                  <a:pt x="824613" y="413513"/>
                  <a:pt x="824613" y="431505"/>
                </a:cubicBezTo>
                <a:lnTo>
                  <a:pt x="824613" y="456695"/>
                </a:lnTo>
                <a:cubicBezTo>
                  <a:pt x="824613" y="474687"/>
                  <a:pt x="812676" y="485482"/>
                  <a:pt x="793576" y="485482"/>
                </a:cubicBezTo>
                <a:cubicBezTo>
                  <a:pt x="774477" y="485482"/>
                  <a:pt x="762540" y="474687"/>
                  <a:pt x="762540" y="456695"/>
                </a:cubicBezTo>
                <a:cubicBezTo>
                  <a:pt x="762540" y="431505"/>
                  <a:pt x="762540" y="431505"/>
                  <a:pt x="762540" y="431505"/>
                </a:cubicBezTo>
                <a:cubicBezTo>
                  <a:pt x="762540" y="413513"/>
                  <a:pt x="774477" y="402718"/>
                  <a:pt x="793576" y="402718"/>
                </a:cubicBezTo>
                <a:close/>
                <a:moveTo>
                  <a:pt x="718476" y="402718"/>
                </a:moveTo>
                <a:cubicBezTo>
                  <a:pt x="736436" y="402718"/>
                  <a:pt x="748409" y="412314"/>
                  <a:pt x="748409" y="429107"/>
                </a:cubicBezTo>
                <a:cubicBezTo>
                  <a:pt x="748409" y="430306"/>
                  <a:pt x="748409" y="430306"/>
                  <a:pt x="748409" y="430306"/>
                </a:cubicBezTo>
                <a:cubicBezTo>
                  <a:pt x="738830" y="430306"/>
                  <a:pt x="738830" y="430306"/>
                  <a:pt x="738830" y="430306"/>
                </a:cubicBezTo>
                <a:cubicBezTo>
                  <a:pt x="738830" y="429107"/>
                  <a:pt x="738830" y="429107"/>
                  <a:pt x="738830" y="429107"/>
                </a:cubicBezTo>
                <a:cubicBezTo>
                  <a:pt x="738830" y="418311"/>
                  <a:pt x="730449" y="411114"/>
                  <a:pt x="718476" y="411114"/>
                </a:cubicBezTo>
                <a:cubicBezTo>
                  <a:pt x="704108" y="411114"/>
                  <a:pt x="696924" y="418311"/>
                  <a:pt x="696924" y="431505"/>
                </a:cubicBezTo>
                <a:cubicBezTo>
                  <a:pt x="696924" y="456695"/>
                  <a:pt x="696924" y="456695"/>
                  <a:pt x="696924" y="456695"/>
                </a:cubicBezTo>
                <a:cubicBezTo>
                  <a:pt x="696924" y="469889"/>
                  <a:pt x="704108" y="477086"/>
                  <a:pt x="718476" y="477086"/>
                </a:cubicBezTo>
                <a:cubicBezTo>
                  <a:pt x="730449" y="477086"/>
                  <a:pt x="738830" y="471088"/>
                  <a:pt x="738830" y="459093"/>
                </a:cubicBezTo>
                <a:lnTo>
                  <a:pt x="748409" y="459093"/>
                </a:lnTo>
                <a:cubicBezTo>
                  <a:pt x="748409" y="475886"/>
                  <a:pt x="736436" y="485482"/>
                  <a:pt x="718476" y="485482"/>
                </a:cubicBezTo>
                <a:cubicBezTo>
                  <a:pt x="699318" y="485482"/>
                  <a:pt x="687345" y="474687"/>
                  <a:pt x="687345" y="456695"/>
                </a:cubicBezTo>
                <a:cubicBezTo>
                  <a:pt x="687345" y="431505"/>
                  <a:pt x="687345" y="431505"/>
                  <a:pt x="687345" y="431505"/>
                </a:cubicBezTo>
                <a:cubicBezTo>
                  <a:pt x="687345" y="413513"/>
                  <a:pt x="699318" y="402718"/>
                  <a:pt x="718476" y="402718"/>
                </a:cubicBezTo>
                <a:close/>
                <a:moveTo>
                  <a:pt x="450572" y="402718"/>
                </a:moveTo>
                <a:cubicBezTo>
                  <a:pt x="469571" y="402718"/>
                  <a:pt x="481445" y="412314"/>
                  <a:pt x="481445" y="429107"/>
                </a:cubicBezTo>
                <a:cubicBezTo>
                  <a:pt x="481445" y="430306"/>
                  <a:pt x="481445" y="430306"/>
                  <a:pt x="481445" y="430306"/>
                </a:cubicBezTo>
                <a:cubicBezTo>
                  <a:pt x="471946" y="430306"/>
                  <a:pt x="471946" y="430306"/>
                  <a:pt x="471946" y="430306"/>
                </a:cubicBezTo>
                <a:cubicBezTo>
                  <a:pt x="471946" y="429107"/>
                  <a:pt x="471946" y="429107"/>
                  <a:pt x="471946" y="429107"/>
                </a:cubicBezTo>
                <a:cubicBezTo>
                  <a:pt x="471946" y="418311"/>
                  <a:pt x="463634" y="411114"/>
                  <a:pt x="450572" y="411114"/>
                </a:cubicBezTo>
                <a:cubicBezTo>
                  <a:pt x="437510" y="411114"/>
                  <a:pt x="430385" y="418311"/>
                  <a:pt x="430385" y="431505"/>
                </a:cubicBezTo>
                <a:cubicBezTo>
                  <a:pt x="430385" y="456695"/>
                  <a:pt x="430385" y="456695"/>
                  <a:pt x="430385" y="456695"/>
                </a:cubicBezTo>
                <a:cubicBezTo>
                  <a:pt x="430385" y="469889"/>
                  <a:pt x="437510" y="477086"/>
                  <a:pt x="450572" y="477086"/>
                </a:cubicBezTo>
                <a:cubicBezTo>
                  <a:pt x="463634" y="477086"/>
                  <a:pt x="471946" y="471088"/>
                  <a:pt x="471946" y="459093"/>
                </a:cubicBezTo>
                <a:lnTo>
                  <a:pt x="481445" y="459093"/>
                </a:lnTo>
                <a:cubicBezTo>
                  <a:pt x="481445" y="475886"/>
                  <a:pt x="469571" y="485482"/>
                  <a:pt x="450572" y="485482"/>
                </a:cubicBezTo>
                <a:cubicBezTo>
                  <a:pt x="431573" y="485482"/>
                  <a:pt x="420886" y="474687"/>
                  <a:pt x="420886" y="456695"/>
                </a:cubicBezTo>
                <a:cubicBezTo>
                  <a:pt x="420886" y="431505"/>
                  <a:pt x="420886" y="431505"/>
                  <a:pt x="420886" y="431505"/>
                </a:cubicBezTo>
                <a:cubicBezTo>
                  <a:pt x="420886" y="413513"/>
                  <a:pt x="431573" y="402718"/>
                  <a:pt x="450572" y="402718"/>
                </a:cubicBezTo>
                <a:close/>
                <a:moveTo>
                  <a:pt x="374364" y="402718"/>
                </a:moveTo>
                <a:cubicBezTo>
                  <a:pt x="393479" y="402718"/>
                  <a:pt x="403036" y="411114"/>
                  <a:pt x="403036" y="426708"/>
                </a:cubicBezTo>
                <a:cubicBezTo>
                  <a:pt x="403036" y="427907"/>
                  <a:pt x="403036" y="427907"/>
                  <a:pt x="403036" y="427907"/>
                </a:cubicBezTo>
                <a:cubicBezTo>
                  <a:pt x="393479" y="427907"/>
                  <a:pt x="393479" y="427907"/>
                  <a:pt x="393479" y="427907"/>
                </a:cubicBezTo>
                <a:cubicBezTo>
                  <a:pt x="393479" y="426708"/>
                  <a:pt x="393479" y="426708"/>
                  <a:pt x="393479" y="426708"/>
                </a:cubicBezTo>
                <a:cubicBezTo>
                  <a:pt x="393479" y="415912"/>
                  <a:pt x="387505" y="411114"/>
                  <a:pt x="374364" y="411114"/>
                </a:cubicBezTo>
                <a:cubicBezTo>
                  <a:pt x="362417" y="411114"/>
                  <a:pt x="356443" y="415912"/>
                  <a:pt x="356443" y="424309"/>
                </a:cubicBezTo>
                <a:cubicBezTo>
                  <a:pt x="356443" y="432705"/>
                  <a:pt x="361222" y="436303"/>
                  <a:pt x="368390" y="437503"/>
                </a:cubicBezTo>
                <a:cubicBezTo>
                  <a:pt x="383921" y="441101"/>
                  <a:pt x="383921" y="441101"/>
                  <a:pt x="383921" y="441101"/>
                </a:cubicBezTo>
                <a:cubicBezTo>
                  <a:pt x="397063" y="443500"/>
                  <a:pt x="404231" y="450697"/>
                  <a:pt x="404231" y="462692"/>
                </a:cubicBezTo>
                <a:cubicBezTo>
                  <a:pt x="404231" y="478285"/>
                  <a:pt x="393479" y="485482"/>
                  <a:pt x="374364" y="485482"/>
                </a:cubicBezTo>
                <a:cubicBezTo>
                  <a:pt x="356443" y="485482"/>
                  <a:pt x="345691" y="477086"/>
                  <a:pt x="345691" y="461492"/>
                </a:cubicBezTo>
                <a:cubicBezTo>
                  <a:pt x="345691" y="460293"/>
                  <a:pt x="345691" y="460293"/>
                  <a:pt x="345691" y="460293"/>
                </a:cubicBezTo>
                <a:cubicBezTo>
                  <a:pt x="355249" y="460293"/>
                  <a:pt x="355249" y="460293"/>
                  <a:pt x="355249" y="460293"/>
                </a:cubicBezTo>
                <a:cubicBezTo>
                  <a:pt x="355249" y="461492"/>
                  <a:pt x="355249" y="461492"/>
                  <a:pt x="355249" y="461492"/>
                </a:cubicBezTo>
                <a:cubicBezTo>
                  <a:pt x="355249" y="472288"/>
                  <a:pt x="362417" y="477086"/>
                  <a:pt x="374364" y="477086"/>
                </a:cubicBezTo>
                <a:cubicBezTo>
                  <a:pt x="387505" y="477086"/>
                  <a:pt x="393479" y="472288"/>
                  <a:pt x="393479" y="462692"/>
                </a:cubicBezTo>
                <a:cubicBezTo>
                  <a:pt x="393479" y="455495"/>
                  <a:pt x="388700" y="450697"/>
                  <a:pt x="381532" y="449498"/>
                </a:cubicBezTo>
                <a:cubicBezTo>
                  <a:pt x="366001" y="447099"/>
                  <a:pt x="366001" y="447099"/>
                  <a:pt x="366001" y="447099"/>
                </a:cubicBezTo>
                <a:cubicBezTo>
                  <a:pt x="354054" y="444700"/>
                  <a:pt x="346886" y="437503"/>
                  <a:pt x="346886" y="425508"/>
                </a:cubicBezTo>
                <a:cubicBezTo>
                  <a:pt x="346886" y="411114"/>
                  <a:pt x="356443" y="402718"/>
                  <a:pt x="374364" y="402718"/>
                </a:cubicBezTo>
                <a:close/>
                <a:moveTo>
                  <a:pt x="221798" y="402718"/>
                </a:moveTo>
                <a:cubicBezTo>
                  <a:pt x="240897" y="402718"/>
                  <a:pt x="252834" y="413513"/>
                  <a:pt x="252834" y="431505"/>
                </a:cubicBezTo>
                <a:lnTo>
                  <a:pt x="252834" y="456695"/>
                </a:lnTo>
                <a:cubicBezTo>
                  <a:pt x="252834" y="474687"/>
                  <a:pt x="240897" y="485482"/>
                  <a:pt x="221798" y="485482"/>
                </a:cubicBezTo>
                <a:cubicBezTo>
                  <a:pt x="202698" y="485482"/>
                  <a:pt x="190761" y="474687"/>
                  <a:pt x="190761" y="456695"/>
                </a:cubicBezTo>
                <a:cubicBezTo>
                  <a:pt x="190761" y="431505"/>
                  <a:pt x="190761" y="431505"/>
                  <a:pt x="190761" y="431505"/>
                </a:cubicBezTo>
                <a:cubicBezTo>
                  <a:pt x="190761" y="413513"/>
                  <a:pt x="202698" y="402718"/>
                  <a:pt x="221798" y="402718"/>
                </a:cubicBezTo>
                <a:close/>
                <a:moveTo>
                  <a:pt x="1049691" y="43905"/>
                </a:moveTo>
                <a:cubicBezTo>
                  <a:pt x="1049691" y="43905"/>
                  <a:pt x="1049691" y="43905"/>
                  <a:pt x="1049691" y="130202"/>
                </a:cubicBezTo>
                <a:cubicBezTo>
                  <a:pt x="1049691" y="130202"/>
                  <a:pt x="1049691" y="130202"/>
                  <a:pt x="1114157" y="130202"/>
                </a:cubicBezTo>
                <a:cubicBezTo>
                  <a:pt x="1147584" y="130202"/>
                  <a:pt x="1160716" y="115819"/>
                  <a:pt x="1160716" y="87054"/>
                </a:cubicBezTo>
                <a:cubicBezTo>
                  <a:pt x="1160716" y="55891"/>
                  <a:pt x="1147584" y="43905"/>
                  <a:pt x="1114157" y="43905"/>
                </a:cubicBezTo>
                <a:cubicBezTo>
                  <a:pt x="1114157" y="43905"/>
                  <a:pt x="1114157" y="43905"/>
                  <a:pt x="1049691" y="43905"/>
                </a:cubicBezTo>
                <a:close/>
                <a:moveTo>
                  <a:pt x="999729" y="0"/>
                </a:moveTo>
                <a:cubicBezTo>
                  <a:pt x="999729" y="0"/>
                  <a:pt x="999729" y="0"/>
                  <a:pt x="1115234" y="0"/>
                </a:cubicBezTo>
                <a:cubicBezTo>
                  <a:pt x="1173581" y="0"/>
                  <a:pt x="1211686" y="23905"/>
                  <a:pt x="1211686" y="87253"/>
                </a:cubicBezTo>
                <a:cubicBezTo>
                  <a:pt x="1211686" y="145820"/>
                  <a:pt x="1174772" y="173311"/>
                  <a:pt x="1115234" y="173311"/>
                </a:cubicBezTo>
                <a:cubicBezTo>
                  <a:pt x="1115234" y="173311"/>
                  <a:pt x="1115234" y="173311"/>
                  <a:pt x="1049741" y="173311"/>
                </a:cubicBezTo>
                <a:cubicBezTo>
                  <a:pt x="1049741" y="173311"/>
                  <a:pt x="1049741" y="173311"/>
                  <a:pt x="1049741" y="295226"/>
                </a:cubicBezTo>
                <a:cubicBezTo>
                  <a:pt x="1049741" y="295226"/>
                  <a:pt x="1049741" y="295226"/>
                  <a:pt x="999729" y="295226"/>
                </a:cubicBezTo>
                <a:cubicBezTo>
                  <a:pt x="999729" y="295226"/>
                  <a:pt x="999729" y="295226"/>
                  <a:pt x="999729" y="0"/>
                </a:cubicBezTo>
                <a:close/>
                <a:moveTo>
                  <a:pt x="717625" y="0"/>
                </a:moveTo>
                <a:lnTo>
                  <a:pt x="767586" y="0"/>
                </a:lnTo>
                <a:lnTo>
                  <a:pt x="767586" y="129193"/>
                </a:lnTo>
                <a:lnTo>
                  <a:pt x="893751" y="129193"/>
                </a:lnTo>
                <a:lnTo>
                  <a:pt x="893751" y="0"/>
                </a:lnTo>
                <a:lnTo>
                  <a:pt x="943712" y="0"/>
                </a:lnTo>
                <a:lnTo>
                  <a:pt x="943712" y="295226"/>
                </a:lnTo>
                <a:lnTo>
                  <a:pt x="893751" y="295226"/>
                </a:lnTo>
                <a:lnTo>
                  <a:pt x="893751" y="173098"/>
                </a:lnTo>
                <a:lnTo>
                  <a:pt x="767586" y="173098"/>
                </a:lnTo>
                <a:lnTo>
                  <a:pt x="767586" y="295226"/>
                </a:lnTo>
                <a:lnTo>
                  <a:pt x="717625" y="295226"/>
                </a:lnTo>
                <a:close/>
                <a:moveTo>
                  <a:pt x="401708" y="0"/>
                </a:moveTo>
                <a:lnTo>
                  <a:pt x="448137" y="0"/>
                </a:lnTo>
                <a:lnTo>
                  <a:pt x="531405" y="135249"/>
                </a:lnTo>
                <a:lnTo>
                  <a:pt x="616188" y="0"/>
                </a:lnTo>
                <a:lnTo>
                  <a:pt x="661607" y="0"/>
                </a:lnTo>
                <a:lnTo>
                  <a:pt x="661607" y="295226"/>
                </a:lnTo>
                <a:lnTo>
                  <a:pt x="612655" y="295226"/>
                </a:lnTo>
                <a:lnTo>
                  <a:pt x="612655" y="93362"/>
                </a:lnTo>
                <a:lnTo>
                  <a:pt x="531405" y="221041"/>
                </a:lnTo>
                <a:lnTo>
                  <a:pt x="451669" y="93362"/>
                </a:lnTo>
                <a:lnTo>
                  <a:pt x="451669" y="295226"/>
                </a:lnTo>
                <a:lnTo>
                  <a:pt x="401708" y="295226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301" name="SmartArt-Platzhalter 300">
            <a:extLst>
              <a:ext uri="{FF2B5EF4-FFF2-40B4-BE49-F238E27FC236}">
                <a16:creationId xmlns:a16="http://schemas.microsoft.com/office/drawing/2014/main" id="{75DC54DC-758D-42F2-99F9-BAD25F1F1C23}"/>
              </a:ext>
            </a:extLst>
          </p:cNvPr>
          <p:cNvSpPr>
            <a:spLocks noGrp="1"/>
          </p:cNvSpPr>
          <p:nvPr>
            <p:ph type="dgm" sz="quarter" idx="16"/>
          </p:nvPr>
        </p:nvSpPr>
        <p:spPr bwMode="gray">
          <a:xfrm>
            <a:off x="10567565" y="488304"/>
            <a:ext cx="291692" cy="295226"/>
          </a:xfrm>
          <a:custGeom>
            <a:avLst/>
            <a:gdLst>
              <a:gd name="connsiteX0" fmla="*/ 117585 w 291692"/>
              <a:gd name="connsiteY0" fmla="*/ 163510 h 295226"/>
              <a:gd name="connsiteX1" fmla="*/ 166537 w 291692"/>
              <a:gd name="connsiteY1" fmla="*/ 163510 h 295226"/>
              <a:gd name="connsiteX2" fmla="*/ 145341 w 291692"/>
              <a:gd name="connsiteY2" fmla="*/ 295226 h 295226"/>
              <a:gd name="connsiteX3" fmla="*/ 96389 w 291692"/>
              <a:gd name="connsiteY3" fmla="*/ 295226 h 295226"/>
              <a:gd name="connsiteX4" fmla="*/ 242740 w 291692"/>
              <a:gd name="connsiteY4" fmla="*/ 0 h 295226"/>
              <a:gd name="connsiteX5" fmla="*/ 291692 w 291692"/>
              <a:gd name="connsiteY5" fmla="*/ 0 h 295226"/>
              <a:gd name="connsiteX6" fmla="*/ 291692 w 291692"/>
              <a:gd name="connsiteY6" fmla="*/ 295226 h 295226"/>
              <a:gd name="connsiteX7" fmla="*/ 242740 w 291692"/>
              <a:gd name="connsiteY7" fmla="*/ 295226 h 295226"/>
              <a:gd name="connsiteX8" fmla="*/ 145341 w 291692"/>
              <a:gd name="connsiteY8" fmla="*/ 0 h 295226"/>
              <a:gd name="connsiteX9" fmla="*/ 193788 w 291692"/>
              <a:gd name="connsiteY9" fmla="*/ 0 h 295226"/>
              <a:gd name="connsiteX10" fmla="*/ 175116 w 291692"/>
              <a:gd name="connsiteY10" fmla="*/ 114558 h 295226"/>
              <a:gd name="connsiteX11" fmla="*/ 126164 w 291692"/>
              <a:gd name="connsiteY11" fmla="*/ 114558 h 295226"/>
              <a:gd name="connsiteX12" fmla="*/ 0 w 291692"/>
              <a:gd name="connsiteY12" fmla="*/ 0 h 295226"/>
              <a:gd name="connsiteX13" fmla="*/ 48447 w 291692"/>
              <a:gd name="connsiteY13" fmla="*/ 0 h 295226"/>
              <a:gd name="connsiteX14" fmla="*/ 48447 w 291692"/>
              <a:gd name="connsiteY14" fmla="*/ 295226 h 295226"/>
              <a:gd name="connsiteX15" fmla="*/ 0 w 291692"/>
              <a:gd name="connsiteY15" fmla="*/ 295226 h 295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91692" h="295226">
                <a:moveTo>
                  <a:pt x="117585" y="163510"/>
                </a:moveTo>
                <a:lnTo>
                  <a:pt x="166537" y="163510"/>
                </a:lnTo>
                <a:lnTo>
                  <a:pt x="145341" y="295226"/>
                </a:lnTo>
                <a:lnTo>
                  <a:pt x="96389" y="295226"/>
                </a:lnTo>
                <a:close/>
                <a:moveTo>
                  <a:pt x="242740" y="0"/>
                </a:moveTo>
                <a:lnTo>
                  <a:pt x="291692" y="0"/>
                </a:lnTo>
                <a:lnTo>
                  <a:pt x="291692" y="295226"/>
                </a:lnTo>
                <a:lnTo>
                  <a:pt x="242740" y="295226"/>
                </a:lnTo>
                <a:close/>
                <a:moveTo>
                  <a:pt x="145341" y="0"/>
                </a:moveTo>
                <a:lnTo>
                  <a:pt x="193788" y="0"/>
                </a:lnTo>
                <a:lnTo>
                  <a:pt x="175116" y="114558"/>
                </a:lnTo>
                <a:lnTo>
                  <a:pt x="126164" y="114558"/>
                </a:lnTo>
                <a:close/>
                <a:moveTo>
                  <a:pt x="0" y="0"/>
                </a:moveTo>
                <a:lnTo>
                  <a:pt x="48447" y="0"/>
                </a:lnTo>
                <a:lnTo>
                  <a:pt x="48447" y="295226"/>
                </a:lnTo>
                <a:lnTo>
                  <a:pt x="0" y="29522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 sz="1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3" name="Titel 7">
            <a:extLst>
              <a:ext uri="{FF2B5EF4-FFF2-40B4-BE49-F238E27FC236}">
                <a16:creationId xmlns:a16="http://schemas.microsoft.com/office/drawing/2014/main" id="{6B92239C-165D-4EA6-AC37-8F5584BFED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484313"/>
            <a:ext cx="5832475" cy="7921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lientitel </a:t>
            </a:r>
            <a:br>
              <a:rPr lang="de-DE" dirty="0"/>
            </a:br>
            <a:r>
              <a:rPr lang="de-DE" dirty="0"/>
              <a:t>einfügen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8C3357A4-B8E4-4112-AC47-4078562E01E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 bwMode="gray">
          <a:xfrm>
            <a:off x="1" y="0"/>
            <a:ext cx="7902537" cy="6858000"/>
          </a:xfrm>
          <a:custGeom>
            <a:avLst/>
            <a:gdLst>
              <a:gd name="connsiteX0" fmla="*/ 0 w 7902537"/>
              <a:gd name="connsiteY0" fmla="*/ 0 h 6858000"/>
              <a:gd name="connsiteX1" fmla="*/ 3481 w 7902537"/>
              <a:gd name="connsiteY1" fmla="*/ 0 h 6858000"/>
              <a:gd name="connsiteX2" fmla="*/ 534804 w 7902537"/>
              <a:gd name="connsiteY2" fmla="*/ 0 h 6858000"/>
              <a:gd name="connsiteX3" fmla="*/ 818694 w 7902537"/>
              <a:gd name="connsiteY3" fmla="*/ 0 h 6858000"/>
              <a:gd name="connsiteX4" fmla="*/ 1659244 w 7902537"/>
              <a:gd name="connsiteY4" fmla="*/ 0 h 6858000"/>
              <a:gd name="connsiteX5" fmla="*/ 1814039 w 7902537"/>
              <a:gd name="connsiteY5" fmla="*/ 0 h 6858000"/>
              <a:gd name="connsiteX6" fmla="*/ 1817520 w 7902537"/>
              <a:gd name="connsiteY6" fmla="*/ 0 h 6858000"/>
              <a:gd name="connsiteX7" fmla="*/ 1950998 w 7902537"/>
              <a:gd name="connsiteY7" fmla="*/ 0 h 6858000"/>
              <a:gd name="connsiteX8" fmla="*/ 1954479 w 7902537"/>
              <a:gd name="connsiteY8" fmla="*/ 0 h 6858000"/>
              <a:gd name="connsiteX9" fmla="*/ 2348843 w 7902537"/>
              <a:gd name="connsiteY9" fmla="*/ 0 h 6858000"/>
              <a:gd name="connsiteX10" fmla="*/ 2359603 w 7902537"/>
              <a:gd name="connsiteY10" fmla="*/ 0 h 6858000"/>
              <a:gd name="connsiteX11" fmla="*/ 2474457 w 7902537"/>
              <a:gd name="connsiteY11" fmla="*/ 0 h 6858000"/>
              <a:gd name="connsiteX12" fmla="*/ 2485802 w 7902537"/>
              <a:gd name="connsiteY12" fmla="*/ 0 h 6858000"/>
              <a:gd name="connsiteX13" fmla="*/ 2632733 w 7902537"/>
              <a:gd name="connsiteY13" fmla="*/ 0 h 6858000"/>
              <a:gd name="connsiteX14" fmla="*/ 2769692 w 7902537"/>
              <a:gd name="connsiteY14" fmla="*/ 0 h 6858000"/>
              <a:gd name="connsiteX15" fmla="*/ 3174815 w 7902537"/>
              <a:gd name="connsiteY15" fmla="*/ 0 h 6858000"/>
              <a:gd name="connsiteX16" fmla="*/ 3473283 w 7902537"/>
              <a:gd name="connsiteY16" fmla="*/ 0 h 6858000"/>
              <a:gd name="connsiteX17" fmla="*/ 3610242 w 7902537"/>
              <a:gd name="connsiteY17" fmla="*/ 0 h 6858000"/>
              <a:gd name="connsiteX18" fmla="*/ 3765037 w 7902537"/>
              <a:gd name="connsiteY18" fmla="*/ 0 h 6858000"/>
              <a:gd name="connsiteX19" fmla="*/ 3768518 w 7902537"/>
              <a:gd name="connsiteY19" fmla="*/ 0 h 6858000"/>
              <a:gd name="connsiteX20" fmla="*/ 4015365 w 7902537"/>
              <a:gd name="connsiteY20" fmla="*/ 0 h 6858000"/>
              <a:gd name="connsiteX21" fmla="*/ 4173642 w 7902537"/>
              <a:gd name="connsiteY21" fmla="*/ 0 h 6858000"/>
              <a:gd name="connsiteX22" fmla="*/ 4288496 w 7902537"/>
              <a:gd name="connsiteY22" fmla="*/ 0 h 6858000"/>
              <a:gd name="connsiteX23" fmla="*/ 4299255 w 7902537"/>
              <a:gd name="connsiteY23" fmla="*/ 0 h 6858000"/>
              <a:gd name="connsiteX24" fmla="*/ 4299841 w 7902537"/>
              <a:gd name="connsiteY24" fmla="*/ 0 h 6858000"/>
              <a:gd name="connsiteX25" fmla="*/ 4310601 w 7902537"/>
              <a:gd name="connsiteY25" fmla="*/ 0 h 6858000"/>
              <a:gd name="connsiteX26" fmla="*/ 4425455 w 7902537"/>
              <a:gd name="connsiteY26" fmla="*/ 0 h 6858000"/>
              <a:gd name="connsiteX27" fmla="*/ 4583731 w 7902537"/>
              <a:gd name="connsiteY27" fmla="*/ 0 h 6858000"/>
              <a:gd name="connsiteX28" fmla="*/ 4830578 w 7902537"/>
              <a:gd name="connsiteY28" fmla="*/ 0 h 6858000"/>
              <a:gd name="connsiteX29" fmla="*/ 4988854 w 7902537"/>
              <a:gd name="connsiteY29" fmla="*/ 0 h 6858000"/>
              <a:gd name="connsiteX30" fmla="*/ 5114468 w 7902537"/>
              <a:gd name="connsiteY30" fmla="*/ 0 h 6858000"/>
              <a:gd name="connsiteX31" fmla="*/ 5125813 w 7902537"/>
              <a:gd name="connsiteY31" fmla="*/ 0 h 6858000"/>
              <a:gd name="connsiteX32" fmla="*/ 5424281 w 7902537"/>
              <a:gd name="connsiteY32" fmla="*/ 0 h 6858000"/>
              <a:gd name="connsiteX33" fmla="*/ 5829404 w 7902537"/>
              <a:gd name="connsiteY33" fmla="*/ 0 h 6858000"/>
              <a:gd name="connsiteX34" fmla="*/ 5951539 w 7902537"/>
              <a:gd name="connsiteY34" fmla="*/ 0 h 6858000"/>
              <a:gd name="connsiteX35" fmla="*/ 5966363 w 7902537"/>
              <a:gd name="connsiteY35" fmla="*/ 0 h 6858000"/>
              <a:gd name="connsiteX36" fmla="*/ 6124640 w 7902537"/>
              <a:gd name="connsiteY36" fmla="*/ 0 h 6858000"/>
              <a:gd name="connsiteX37" fmla="*/ 6239494 w 7902537"/>
              <a:gd name="connsiteY37" fmla="*/ 0 h 6858000"/>
              <a:gd name="connsiteX38" fmla="*/ 6250253 w 7902537"/>
              <a:gd name="connsiteY38" fmla="*/ 0 h 6858000"/>
              <a:gd name="connsiteX39" fmla="*/ 6781576 w 7902537"/>
              <a:gd name="connsiteY39" fmla="*/ 0 h 6858000"/>
              <a:gd name="connsiteX40" fmla="*/ 6939852 w 7902537"/>
              <a:gd name="connsiteY40" fmla="*/ 0 h 6858000"/>
              <a:gd name="connsiteX41" fmla="*/ 7065466 w 7902537"/>
              <a:gd name="connsiteY41" fmla="*/ 0 h 6858000"/>
              <a:gd name="connsiteX42" fmla="*/ 7780402 w 7902537"/>
              <a:gd name="connsiteY42" fmla="*/ 0 h 6858000"/>
              <a:gd name="connsiteX43" fmla="*/ 7902537 w 7902537"/>
              <a:gd name="connsiteY43" fmla="*/ 0 h 6858000"/>
              <a:gd name="connsiteX44" fmla="*/ 6702686 w 7902537"/>
              <a:gd name="connsiteY44" fmla="*/ 6858000 h 6858000"/>
              <a:gd name="connsiteX45" fmla="*/ 6580553 w 7902537"/>
              <a:gd name="connsiteY45" fmla="*/ 6858000 h 6858000"/>
              <a:gd name="connsiteX46" fmla="*/ 6239494 w 7902537"/>
              <a:gd name="connsiteY46" fmla="*/ 6858000 h 6858000"/>
              <a:gd name="connsiteX47" fmla="*/ 5865616 w 7902537"/>
              <a:gd name="connsiteY47" fmla="*/ 6858000 h 6858000"/>
              <a:gd name="connsiteX48" fmla="*/ 5740002 w 7902537"/>
              <a:gd name="connsiteY48" fmla="*/ 6858000 h 6858000"/>
              <a:gd name="connsiteX49" fmla="*/ 5581727 w 7902537"/>
              <a:gd name="connsiteY49" fmla="*/ 6858000 h 6858000"/>
              <a:gd name="connsiteX50" fmla="*/ 5424281 w 7902537"/>
              <a:gd name="connsiteY50" fmla="*/ 6858000 h 6858000"/>
              <a:gd name="connsiteX51" fmla="*/ 5050404 w 7902537"/>
              <a:gd name="connsiteY51" fmla="*/ 6858000 h 6858000"/>
              <a:gd name="connsiteX52" fmla="*/ 4924789 w 7902537"/>
              <a:gd name="connsiteY52" fmla="*/ 6858000 h 6858000"/>
              <a:gd name="connsiteX53" fmla="*/ 4766513 w 7902537"/>
              <a:gd name="connsiteY53" fmla="*/ 6858000 h 6858000"/>
              <a:gd name="connsiteX54" fmla="*/ 4751688 w 7902537"/>
              <a:gd name="connsiteY54" fmla="*/ 6858000 h 6858000"/>
              <a:gd name="connsiteX55" fmla="*/ 4629555 w 7902537"/>
              <a:gd name="connsiteY55" fmla="*/ 6858000 h 6858000"/>
              <a:gd name="connsiteX56" fmla="*/ 4583731 w 7902537"/>
              <a:gd name="connsiteY56" fmla="*/ 6858000 h 6858000"/>
              <a:gd name="connsiteX57" fmla="*/ 4425455 w 7902537"/>
              <a:gd name="connsiteY57" fmla="*/ 6858000 h 6858000"/>
              <a:gd name="connsiteX58" fmla="*/ 4299841 w 7902537"/>
              <a:gd name="connsiteY58" fmla="*/ 6858000 h 6858000"/>
              <a:gd name="connsiteX59" fmla="*/ 4288496 w 7902537"/>
              <a:gd name="connsiteY59" fmla="*/ 6858000 h 6858000"/>
              <a:gd name="connsiteX60" fmla="*/ 3925963 w 7902537"/>
              <a:gd name="connsiteY60" fmla="*/ 6858000 h 6858000"/>
              <a:gd name="connsiteX61" fmla="*/ 3914618 w 7902537"/>
              <a:gd name="connsiteY61" fmla="*/ 6858000 h 6858000"/>
              <a:gd name="connsiteX62" fmla="*/ 3789004 w 7902537"/>
              <a:gd name="connsiteY62" fmla="*/ 6858000 h 6858000"/>
              <a:gd name="connsiteX63" fmla="*/ 3768518 w 7902537"/>
              <a:gd name="connsiteY63" fmla="*/ 6858000 h 6858000"/>
              <a:gd name="connsiteX64" fmla="*/ 3765037 w 7902537"/>
              <a:gd name="connsiteY64" fmla="*/ 6858000 h 6858000"/>
              <a:gd name="connsiteX65" fmla="*/ 3630729 w 7902537"/>
              <a:gd name="connsiteY65" fmla="*/ 6858000 h 6858000"/>
              <a:gd name="connsiteX66" fmla="*/ 3610242 w 7902537"/>
              <a:gd name="connsiteY66" fmla="*/ 6858000 h 6858000"/>
              <a:gd name="connsiteX67" fmla="*/ 3473283 w 7902537"/>
              <a:gd name="connsiteY67" fmla="*/ 6858000 h 6858000"/>
              <a:gd name="connsiteX68" fmla="*/ 3110750 w 7902537"/>
              <a:gd name="connsiteY68" fmla="*/ 6858000 h 6858000"/>
              <a:gd name="connsiteX69" fmla="*/ 3099406 w 7902537"/>
              <a:gd name="connsiteY69" fmla="*/ 6858000 h 6858000"/>
              <a:gd name="connsiteX70" fmla="*/ 2973791 w 7902537"/>
              <a:gd name="connsiteY70" fmla="*/ 6858000 h 6858000"/>
              <a:gd name="connsiteX71" fmla="*/ 2815515 w 7902537"/>
              <a:gd name="connsiteY71" fmla="*/ 6858000 h 6858000"/>
              <a:gd name="connsiteX72" fmla="*/ 2769692 w 7902537"/>
              <a:gd name="connsiteY72" fmla="*/ 6858000 h 6858000"/>
              <a:gd name="connsiteX73" fmla="*/ 2632733 w 7902537"/>
              <a:gd name="connsiteY73" fmla="*/ 6858000 h 6858000"/>
              <a:gd name="connsiteX74" fmla="*/ 2485802 w 7902537"/>
              <a:gd name="connsiteY74" fmla="*/ 6858000 h 6858000"/>
              <a:gd name="connsiteX75" fmla="*/ 2474457 w 7902537"/>
              <a:gd name="connsiteY75" fmla="*/ 6858000 h 6858000"/>
              <a:gd name="connsiteX76" fmla="*/ 2348843 w 7902537"/>
              <a:gd name="connsiteY76" fmla="*/ 6858000 h 6858000"/>
              <a:gd name="connsiteX77" fmla="*/ 1974965 w 7902537"/>
              <a:gd name="connsiteY77" fmla="*/ 6858000 h 6858000"/>
              <a:gd name="connsiteX78" fmla="*/ 1954479 w 7902537"/>
              <a:gd name="connsiteY78" fmla="*/ 6858000 h 6858000"/>
              <a:gd name="connsiteX79" fmla="*/ 1950998 w 7902537"/>
              <a:gd name="connsiteY79" fmla="*/ 6858000 h 6858000"/>
              <a:gd name="connsiteX80" fmla="*/ 1817520 w 7902537"/>
              <a:gd name="connsiteY80" fmla="*/ 6858000 h 6858000"/>
              <a:gd name="connsiteX81" fmla="*/ 1814039 w 7902537"/>
              <a:gd name="connsiteY81" fmla="*/ 6858000 h 6858000"/>
              <a:gd name="connsiteX82" fmla="*/ 1659244 w 7902537"/>
              <a:gd name="connsiteY82" fmla="*/ 6858000 h 6858000"/>
              <a:gd name="connsiteX83" fmla="*/ 1159752 w 7902537"/>
              <a:gd name="connsiteY83" fmla="*/ 6858000 h 6858000"/>
              <a:gd name="connsiteX84" fmla="*/ 818694 w 7902537"/>
              <a:gd name="connsiteY84" fmla="*/ 6858000 h 6858000"/>
              <a:gd name="connsiteX85" fmla="*/ 534804 w 7902537"/>
              <a:gd name="connsiteY85" fmla="*/ 6858000 h 6858000"/>
              <a:gd name="connsiteX86" fmla="*/ 3481 w 7902537"/>
              <a:gd name="connsiteY86" fmla="*/ 6858000 h 6858000"/>
              <a:gd name="connsiteX87" fmla="*/ 0 w 7902537"/>
              <a:gd name="connsiteY8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7902537" h="6858000">
                <a:moveTo>
                  <a:pt x="0" y="0"/>
                </a:moveTo>
                <a:lnTo>
                  <a:pt x="3481" y="0"/>
                </a:lnTo>
                <a:lnTo>
                  <a:pt x="534804" y="0"/>
                </a:lnTo>
                <a:lnTo>
                  <a:pt x="818694" y="0"/>
                </a:lnTo>
                <a:lnTo>
                  <a:pt x="1659244" y="0"/>
                </a:lnTo>
                <a:lnTo>
                  <a:pt x="1814039" y="0"/>
                </a:lnTo>
                <a:lnTo>
                  <a:pt x="1817520" y="0"/>
                </a:lnTo>
                <a:lnTo>
                  <a:pt x="1950998" y="0"/>
                </a:lnTo>
                <a:lnTo>
                  <a:pt x="1954479" y="0"/>
                </a:lnTo>
                <a:lnTo>
                  <a:pt x="2348843" y="0"/>
                </a:lnTo>
                <a:lnTo>
                  <a:pt x="2359603" y="0"/>
                </a:lnTo>
                <a:lnTo>
                  <a:pt x="2474457" y="0"/>
                </a:lnTo>
                <a:lnTo>
                  <a:pt x="2485802" y="0"/>
                </a:lnTo>
                <a:lnTo>
                  <a:pt x="2632733" y="0"/>
                </a:lnTo>
                <a:lnTo>
                  <a:pt x="2769692" y="0"/>
                </a:lnTo>
                <a:lnTo>
                  <a:pt x="3174815" y="0"/>
                </a:lnTo>
                <a:lnTo>
                  <a:pt x="3473283" y="0"/>
                </a:lnTo>
                <a:lnTo>
                  <a:pt x="3610242" y="0"/>
                </a:lnTo>
                <a:lnTo>
                  <a:pt x="3765037" y="0"/>
                </a:lnTo>
                <a:lnTo>
                  <a:pt x="3768518" y="0"/>
                </a:lnTo>
                <a:lnTo>
                  <a:pt x="4015365" y="0"/>
                </a:lnTo>
                <a:lnTo>
                  <a:pt x="4173642" y="0"/>
                </a:lnTo>
                <a:lnTo>
                  <a:pt x="4288496" y="0"/>
                </a:lnTo>
                <a:lnTo>
                  <a:pt x="4299255" y="0"/>
                </a:lnTo>
                <a:lnTo>
                  <a:pt x="4299841" y="0"/>
                </a:lnTo>
                <a:lnTo>
                  <a:pt x="4310601" y="0"/>
                </a:lnTo>
                <a:lnTo>
                  <a:pt x="4425455" y="0"/>
                </a:lnTo>
                <a:lnTo>
                  <a:pt x="4583731" y="0"/>
                </a:lnTo>
                <a:lnTo>
                  <a:pt x="4830578" y="0"/>
                </a:lnTo>
                <a:lnTo>
                  <a:pt x="4988854" y="0"/>
                </a:lnTo>
                <a:lnTo>
                  <a:pt x="5114468" y="0"/>
                </a:lnTo>
                <a:lnTo>
                  <a:pt x="5125813" y="0"/>
                </a:lnTo>
                <a:lnTo>
                  <a:pt x="5424281" y="0"/>
                </a:lnTo>
                <a:lnTo>
                  <a:pt x="5829404" y="0"/>
                </a:lnTo>
                <a:lnTo>
                  <a:pt x="5951539" y="0"/>
                </a:lnTo>
                <a:lnTo>
                  <a:pt x="5966363" y="0"/>
                </a:lnTo>
                <a:lnTo>
                  <a:pt x="6124640" y="0"/>
                </a:lnTo>
                <a:lnTo>
                  <a:pt x="6239494" y="0"/>
                </a:lnTo>
                <a:lnTo>
                  <a:pt x="6250253" y="0"/>
                </a:lnTo>
                <a:lnTo>
                  <a:pt x="6781576" y="0"/>
                </a:lnTo>
                <a:lnTo>
                  <a:pt x="6939852" y="0"/>
                </a:lnTo>
                <a:lnTo>
                  <a:pt x="7065466" y="0"/>
                </a:lnTo>
                <a:lnTo>
                  <a:pt x="7780402" y="0"/>
                </a:lnTo>
                <a:lnTo>
                  <a:pt x="7902537" y="0"/>
                </a:lnTo>
                <a:lnTo>
                  <a:pt x="6702686" y="6858000"/>
                </a:lnTo>
                <a:lnTo>
                  <a:pt x="6580553" y="6858000"/>
                </a:lnTo>
                <a:lnTo>
                  <a:pt x="6239494" y="6858000"/>
                </a:lnTo>
                <a:lnTo>
                  <a:pt x="5865616" y="6858000"/>
                </a:lnTo>
                <a:lnTo>
                  <a:pt x="5740002" y="6858000"/>
                </a:lnTo>
                <a:lnTo>
                  <a:pt x="5581727" y="6858000"/>
                </a:lnTo>
                <a:lnTo>
                  <a:pt x="5424281" y="6858000"/>
                </a:lnTo>
                <a:lnTo>
                  <a:pt x="5050404" y="6858000"/>
                </a:lnTo>
                <a:lnTo>
                  <a:pt x="4924789" y="6858000"/>
                </a:lnTo>
                <a:lnTo>
                  <a:pt x="4766513" y="6858000"/>
                </a:lnTo>
                <a:lnTo>
                  <a:pt x="4751688" y="6858000"/>
                </a:lnTo>
                <a:lnTo>
                  <a:pt x="4629555" y="6858000"/>
                </a:lnTo>
                <a:lnTo>
                  <a:pt x="4583731" y="6858000"/>
                </a:lnTo>
                <a:lnTo>
                  <a:pt x="4425455" y="6858000"/>
                </a:lnTo>
                <a:lnTo>
                  <a:pt x="4299841" y="6858000"/>
                </a:lnTo>
                <a:lnTo>
                  <a:pt x="4288496" y="6858000"/>
                </a:lnTo>
                <a:lnTo>
                  <a:pt x="3925963" y="6858000"/>
                </a:lnTo>
                <a:lnTo>
                  <a:pt x="3914618" y="6858000"/>
                </a:lnTo>
                <a:lnTo>
                  <a:pt x="3789004" y="6858000"/>
                </a:lnTo>
                <a:lnTo>
                  <a:pt x="3768518" y="6858000"/>
                </a:lnTo>
                <a:lnTo>
                  <a:pt x="3765037" y="6858000"/>
                </a:lnTo>
                <a:lnTo>
                  <a:pt x="3630729" y="6858000"/>
                </a:lnTo>
                <a:lnTo>
                  <a:pt x="3610242" y="6858000"/>
                </a:lnTo>
                <a:lnTo>
                  <a:pt x="3473283" y="6858000"/>
                </a:lnTo>
                <a:lnTo>
                  <a:pt x="3110750" y="6858000"/>
                </a:lnTo>
                <a:lnTo>
                  <a:pt x="3099406" y="6858000"/>
                </a:lnTo>
                <a:lnTo>
                  <a:pt x="2973791" y="6858000"/>
                </a:lnTo>
                <a:lnTo>
                  <a:pt x="2815515" y="6858000"/>
                </a:lnTo>
                <a:lnTo>
                  <a:pt x="2769692" y="6858000"/>
                </a:lnTo>
                <a:lnTo>
                  <a:pt x="2632733" y="6858000"/>
                </a:lnTo>
                <a:lnTo>
                  <a:pt x="2485802" y="6858000"/>
                </a:lnTo>
                <a:lnTo>
                  <a:pt x="2474457" y="6858000"/>
                </a:lnTo>
                <a:lnTo>
                  <a:pt x="2348843" y="6858000"/>
                </a:lnTo>
                <a:lnTo>
                  <a:pt x="1974965" y="6858000"/>
                </a:lnTo>
                <a:lnTo>
                  <a:pt x="1954479" y="6858000"/>
                </a:lnTo>
                <a:lnTo>
                  <a:pt x="1950998" y="6858000"/>
                </a:lnTo>
                <a:lnTo>
                  <a:pt x="1817520" y="6858000"/>
                </a:lnTo>
                <a:lnTo>
                  <a:pt x="1814039" y="6858000"/>
                </a:lnTo>
                <a:lnTo>
                  <a:pt x="1659244" y="6858000"/>
                </a:lnTo>
                <a:lnTo>
                  <a:pt x="1159752" y="6858000"/>
                </a:lnTo>
                <a:lnTo>
                  <a:pt x="818694" y="6858000"/>
                </a:lnTo>
                <a:lnTo>
                  <a:pt x="534804" y="6858000"/>
                </a:lnTo>
                <a:lnTo>
                  <a:pt x="34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5949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873349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Folie" r:id="rId26" imgW="424" imgH="424" progId="TCLayout.ActiveDocument.1">
                  <p:embed/>
                </p:oleObj>
              </mc:Choice>
              <mc:Fallback>
                <p:oleObj name="think-cell Folie" r:id="rId26" imgW="424" imgH="42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uppieren 8"/>
          <p:cNvGrpSpPr/>
          <p:nvPr userDrawn="1"/>
        </p:nvGrpSpPr>
        <p:grpSpPr>
          <a:xfrm>
            <a:off x="-180007" y="-180000"/>
            <a:ext cx="12553214" cy="7218000"/>
            <a:chOff x="-180007" y="-180000"/>
            <a:chExt cx="12553214" cy="7218000"/>
          </a:xfrm>
        </p:grpSpPr>
        <p:sp>
          <p:nvSpPr>
            <p:cNvPr id="1032" name="Gleichschenkliges Dreieck 1031"/>
            <p:cNvSpPr/>
            <p:nvPr userDrawn="1"/>
          </p:nvSpPr>
          <p:spPr bwMode="gray">
            <a:xfrm rot="10800000">
              <a:off x="3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8" name="Gleichschenkliges Dreieck 67"/>
            <p:cNvSpPr/>
            <p:nvPr userDrawn="1"/>
          </p:nvSpPr>
          <p:spPr bwMode="gray">
            <a:xfrm rot="10800000">
              <a:off x="39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0" name="Gleichschenkliges Dreieck 69"/>
            <p:cNvSpPr/>
            <p:nvPr userDrawn="1"/>
          </p:nvSpPr>
          <p:spPr bwMode="gray">
            <a:xfrm rot="10800000">
              <a:off x="4242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1" name="Gleichschenkliges Dreieck 70"/>
            <p:cNvSpPr/>
            <p:nvPr userDrawn="1"/>
          </p:nvSpPr>
          <p:spPr bwMode="gray">
            <a:xfrm rot="10800000">
              <a:off x="5898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2" name="Gleichschenkliges Dreieck 71"/>
            <p:cNvSpPr/>
            <p:nvPr userDrawn="1"/>
          </p:nvSpPr>
          <p:spPr bwMode="gray">
            <a:xfrm rot="10800000">
              <a:off x="6186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3" name="Gleichschenkliges Dreieck 72"/>
            <p:cNvSpPr/>
            <p:nvPr userDrawn="1"/>
          </p:nvSpPr>
          <p:spPr bwMode="gray">
            <a:xfrm rot="10800000">
              <a:off x="7841658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4" name="Gleichschenkliges Dreieck 73"/>
            <p:cNvSpPr/>
            <p:nvPr userDrawn="1"/>
          </p:nvSpPr>
          <p:spPr bwMode="gray">
            <a:xfrm rot="10800000">
              <a:off x="8130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5" name="Gleichschenkliges Dreieck 74"/>
            <p:cNvSpPr/>
            <p:nvPr userDrawn="1"/>
          </p:nvSpPr>
          <p:spPr bwMode="gray">
            <a:xfrm rot="10800000">
              <a:off x="11729951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7" name="Gleichschenkliges Dreieck 76"/>
            <p:cNvSpPr/>
            <p:nvPr userDrawn="1"/>
          </p:nvSpPr>
          <p:spPr bwMode="gray">
            <a:xfrm rot="10800000" flipV="1">
              <a:off x="3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8" name="Gleichschenkliges Dreieck 77"/>
            <p:cNvSpPr/>
            <p:nvPr userDrawn="1"/>
          </p:nvSpPr>
          <p:spPr bwMode="gray">
            <a:xfrm rot="10800000" flipV="1">
              <a:off x="39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9" name="Gleichschenkliges Dreieck 78"/>
            <p:cNvSpPr/>
            <p:nvPr userDrawn="1"/>
          </p:nvSpPr>
          <p:spPr bwMode="gray">
            <a:xfrm rot="10800000" flipV="1">
              <a:off x="4242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0" name="Gleichschenkliges Dreieck 79"/>
            <p:cNvSpPr/>
            <p:nvPr userDrawn="1"/>
          </p:nvSpPr>
          <p:spPr bwMode="gray">
            <a:xfrm rot="10800000" flipV="1">
              <a:off x="5898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1" name="Gleichschenkliges Dreieck 80"/>
            <p:cNvSpPr/>
            <p:nvPr userDrawn="1"/>
          </p:nvSpPr>
          <p:spPr bwMode="gray">
            <a:xfrm rot="10800000" flipV="1">
              <a:off x="6186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2" name="Gleichschenkliges Dreieck 81"/>
            <p:cNvSpPr/>
            <p:nvPr userDrawn="1"/>
          </p:nvSpPr>
          <p:spPr bwMode="gray">
            <a:xfrm rot="10800000" flipV="1">
              <a:off x="7841658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3" name="Gleichschenkliges Dreieck 82"/>
            <p:cNvSpPr/>
            <p:nvPr userDrawn="1"/>
          </p:nvSpPr>
          <p:spPr bwMode="gray">
            <a:xfrm rot="10800000" flipV="1">
              <a:off x="8130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4" name="Gleichschenkliges Dreieck 83"/>
            <p:cNvSpPr/>
            <p:nvPr userDrawn="1"/>
          </p:nvSpPr>
          <p:spPr bwMode="gray">
            <a:xfrm rot="10800000" flipV="1">
              <a:off x="11729951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7" name="Gleichschenkliges Dreieck 86"/>
            <p:cNvSpPr/>
            <p:nvPr userDrawn="1"/>
          </p:nvSpPr>
          <p:spPr bwMode="gray">
            <a:xfrm rot="5400000">
              <a:off x="-1800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3" name="Gleichschenkliges Dreieck 92"/>
            <p:cNvSpPr/>
            <p:nvPr userDrawn="1"/>
          </p:nvSpPr>
          <p:spPr bwMode="gray">
            <a:xfrm rot="5400000">
              <a:off x="-1800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4" name="Gleichschenkliges Dreieck 93"/>
            <p:cNvSpPr/>
            <p:nvPr userDrawn="1"/>
          </p:nvSpPr>
          <p:spPr bwMode="gray">
            <a:xfrm rot="5400000">
              <a:off x="-1800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5" name="Gleichschenkliges Dreieck 94"/>
            <p:cNvSpPr/>
            <p:nvPr userDrawn="1"/>
          </p:nvSpPr>
          <p:spPr bwMode="gray">
            <a:xfrm rot="5400000">
              <a:off x="-1800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6" name="Gleichschenkliges Dreieck 95"/>
            <p:cNvSpPr/>
            <p:nvPr userDrawn="1"/>
          </p:nvSpPr>
          <p:spPr bwMode="gray">
            <a:xfrm rot="5400000">
              <a:off x="-180000" y="6327742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8" name="Gleichschenkliges Dreieck 97"/>
            <p:cNvSpPr/>
            <p:nvPr userDrawn="1"/>
          </p:nvSpPr>
          <p:spPr bwMode="gray">
            <a:xfrm rot="5400000">
              <a:off x="-180000" y="6543646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56" name="Gleichschenkliges Dreieck 55"/>
            <p:cNvSpPr/>
            <p:nvPr userDrawn="1"/>
          </p:nvSpPr>
          <p:spPr bwMode="gray">
            <a:xfrm rot="5400000">
              <a:off x="-1800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5" name="Gleichschenkliges Dreieck 84"/>
            <p:cNvSpPr/>
            <p:nvPr userDrawn="1"/>
          </p:nvSpPr>
          <p:spPr bwMode="gray">
            <a:xfrm rot="16200000" flipH="1">
              <a:off x="122652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6" name="Gleichschenkliges Dreieck 85"/>
            <p:cNvSpPr/>
            <p:nvPr userDrawn="1"/>
          </p:nvSpPr>
          <p:spPr bwMode="gray">
            <a:xfrm rot="16200000" flipH="1">
              <a:off x="122652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8" name="Gleichschenkliges Dreieck 87"/>
            <p:cNvSpPr/>
            <p:nvPr userDrawn="1"/>
          </p:nvSpPr>
          <p:spPr bwMode="gray">
            <a:xfrm rot="16200000" flipH="1">
              <a:off x="122652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9" name="Gleichschenkliges Dreieck 88"/>
            <p:cNvSpPr/>
            <p:nvPr userDrawn="1"/>
          </p:nvSpPr>
          <p:spPr bwMode="gray">
            <a:xfrm rot="16200000" flipH="1">
              <a:off x="122652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0" name="Gleichschenkliges Dreieck 89"/>
            <p:cNvSpPr/>
            <p:nvPr userDrawn="1"/>
          </p:nvSpPr>
          <p:spPr bwMode="gray">
            <a:xfrm rot="16200000" flipH="1">
              <a:off x="12265200" y="632774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1" name="Gleichschenkliges Dreieck 90"/>
            <p:cNvSpPr/>
            <p:nvPr userDrawn="1"/>
          </p:nvSpPr>
          <p:spPr bwMode="gray">
            <a:xfrm rot="16200000" flipH="1">
              <a:off x="12265200" y="6543647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2" name="Gleichschenkliges Dreieck 91"/>
            <p:cNvSpPr/>
            <p:nvPr userDrawn="1"/>
          </p:nvSpPr>
          <p:spPr bwMode="gray">
            <a:xfrm rot="16200000" flipH="1">
              <a:off x="122652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7988" y="404814"/>
            <a:ext cx="7775575" cy="792162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/>
          <a:p>
            <a:pPr lvl="0"/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07988" y="1484384"/>
            <a:ext cx="11372973" cy="48973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0017438" y="6981909"/>
            <a:ext cx="1391970" cy="260350"/>
          </a:xfrm>
          <a:prstGeom prst="rect">
            <a:avLst/>
          </a:prstGeom>
        </p:spPr>
        <p:txBody>
          <a:bodyPr vert="horz" lIns="0" tIns="0" rIns="108000" bIns="0" rtlCol="0" anchor="t"/>
          <a:lstStyle>
            <a:lvl1pPr algn="r">
              <a:defRPr sz="1000">
                <a:noFill/>
              </a:defRPr>
            </a:lvl1pPr>
          </a:lstStyle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6454" y="6981908"/>
            <a:ext cx="7489213" cy="26034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 cap="none" baseline="0">
                <a:noFill/>
              </a:defRPr>
            </a:lvl1pPr>
          </a:lstStyle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409406" y="6981907"/>
            <a:ext cx="371554" cy="26034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noFill/>
              </a:defRPr>
            </a:lvl1pPr>
          </a:lstStyle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0" name="Gruppieren 119"/>
          <p:cNvGrpSpPr/>
          <p:nvPr userDrawn="1"/>
        </p:nvGrpSpPr>
        <p:grpSpPr bwMode="gray">
          <a:xfrm>
            <a:off x="10566602" y="490326"/>
            <a:ext cx="1214480" cy="484470"/>
            <a:chOff x="-64593788" y="4924426"/>
            <a:chExt cx="63238063" cy="25223786"/>
          </a:xfrm>
        </p:grpSpPr>
        <p:sp>
          <p:nvSpPr>
            <p:cNvPr id="121" name="Freeform 7"/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2" name="Rectangle 8"/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3" name="Rectangle 9"/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4" name="Freeform 10"/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5" name="Freeform 11"/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6" name="Freeform 12"/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7" name="Freeform 13"/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8" name="Freeform 14"/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9" name="Freeform 15"/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0" name="Freeform 16"/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1" name="Freeform 17"/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2" name="Freeform 18"/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3" name="Freeform 19"/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4" name="Freeform 20"/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5" name="Freeform 21"/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6" name="Freeform 22"/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7" name="Freeform 23"/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8" name="Freeform 24"/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9" name="Freeform 25"/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0" name="Freeform 26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1" name="Freeform 27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2" name="Freeform 28"/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3" name="Freeform 29"/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58" r:id="rId1"/>
    <p:sldLayoutId id="2147493484" r:id="rId2"/>
    <p:sldLayoutId id="2147493485" r:id="rId3"/>
    <p:sldLayoutId id="2147493525" r:id="rId4"/>
    <p:sldLayoutId id="2147493523" r:id="rId5"/>
    <p:sldLayoutId id="2147493511" r:id="rId6"/>
    <p:sldLayoutId id="2147493508" r:id="rId7"/>
    <p:sldLayoutId id="2147493509" r:id="rId8"/>
    <p:sldLayoutId id="2147493512" r:id="rId9"/>
    <p:sldLayoutId id="2147493527" r:id="rId10"/>
    <p:sldLayoutId id="2147493510" r:id="rId11"/>
    <p:sldLayoutId id="2147493513" r:id="rId12"/>
    <p:sldLayoutId id="2147493521" r:id="rId13"/>
    <p:sldLayoutId id="2147493522" r:id="rId14"/>
    <p:sldLayoutId id="2147493514" r:id="rId15"/>
    <p:sldLayoutId id="2147493515" r:id="rId16"/>
    <p:sldLayoutId id="2147493516" r:id="rId17"/>
    <p:sldLayoutId id="2147493526" r:id="rId18"/>
    <p:sldLayoutId id="2147493517" r:id="rId19"/>
    <p:sldLayoutId id="2147493518" r:id="rId20"/>
    <p:sldLayoutId id="2147493520" r:id="rId21"/>
    <p:sldLayoutId id="2147493553" r:id="rId22"/>
  </p:sldLayoutIdLst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  <p:hf hdr="0"/>
  <p:txStyles>
    <p:titleStyle>
      <a:lvl1pPr algn="l" defTabSz="609393" rtl="0" eaLnBrk="1" latinLnBrk="0" hangingPunct="1">
        <a:lnSpc>
          <a:spcPct val="85000"/>
        </a:lnSpc>
        <a:spcBef>
          <a:spcPct val="0"/>
        </a:spcBef>
        <a:buNone/>
        <a:tabLst>
          <a:tab pos="2509838" algn="l"/>
        </a:tabLst>
        <a:defRPr sz="3200" b="1" kern="1200" cap="all" baseline="0">
          <a:solidFill>
            <a:schemeClr val="accent1"/>
          </a:solidFill>
          <a:latin typeface="Segoe UI"/>
          <a:ea typeface="+mj-ea"/>
          <a:cs typeface="+mj-cs"/>
        </a:defRPr>
      </a:lvl1pPr>
      <a:lvl2pPr algn="l" eaLnBrk="1" hangingPunct="1">
        <a:lnSpc>
          <a:spcPct val="85000"/>
        </a:lnSpc>
        <a:defRPr sz="2100" b="0">
          <a:solidFill>
            <a:schemeClr val="accent1"/>
          </a:solidFill>
          <a:latin typeface="+mj-lt"/>
        </a:defRPr>
      </a:lvl2pPr>
      <a:lvl3pPr algn="l" eaLnBrk="1" hangingPunct="1">
        <a:lnSpc>
          <a:spcPct val="85000"/>
        </a:lnSpc>
        <a:defRPr sz="2100">
          <a:solidFill>
            <a:schemeClr val="accent1"/>
          </a:solidFill>
          <a:latin typeface="+mj-lt"/>
        </a:defRPr>
      </a:lvl3pPr>
    </p:titleStyle>
    <p:bodyStyle>
      <a:lvl1pPr marL="0" indent="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tx2"/>
        </a:buClr>
        <a:buSzPct val="100000"/>
        <a:buFont typeface="Wingdings" charset="2"/>
        <a:buNone/>
        <a:defRPr sz="140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1pPr>
      <a:lvl2pPr marL="237600" indent="-23760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1400" b="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2pPr>
      <a:lvl3pPr marL="478800" indent="-239102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3pPr>
      <a:lvl4pPr marL="720000" indent="-239102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Font typeface="Symbol" panose="05050102010706020507" pitchFamily="18" charset="2"/>
        <a:buChar char="-"/>
        <a:defRPr sz="120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4pPr>
      <a:lvl5pPr marL="237600" indent="-23760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SzPct val="90000"/>
        <a:buFont typeface="+mj-lt"/>
        <a:buAutoNum type="arabicPeriod"/>
        <a:defRPr sz="140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5pPr>
      <a:lvl6pPr marL="478800" indent="-239102" algn="l" defTabSz="609393" rtl="0" eaLnBrk="1" latinLnBrk="0" hangingPunct="1">
        <a:lnSpc>
          <a:spcPct val="80000"/>
        </a:lnSpc>
        <a:spcBef>
          <a:spcPts val="800"/>
        </a:spcBef>
        <a:spcAft>
          <a:spcPts val="800"/>
        </a:spcAft>
        <a:buClr>
          <a:schemeClr val="accent1"/>
        </a:buClr>
        <a:buSzPct val="100000"/>
        <a:buFont typeface="+mj-lt"/>
        <a:buAutoNum type="alphaLcParenR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Font typeface="+mj-lt"/>
        <a:buNone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tx2"/>
        </a:buClr>
        <a:buFont typeface="Wingdings" pitchFamily="2" charset="2"/>
        <a:buNone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tx2"/>
        </a:buClr>
        <a:buFont typeface="Wingdings" pitchFamily="2" charset="2"/>
        <a:buNone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93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786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180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572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964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357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752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144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2525" userDrawn="1">
          <p15:clr>
            <a:srgbClr val="F26B43"/>
          </p15:clr>
        </p15:guide>
        <p15:guide id="4" pos="2706" userDrawn="1">
          <p15:clr>
            <a:srgbClr val="F26B43"/>
          </p15:clr>
        </p15:guide>
        <p15:guide id="5" pos="3749" userDrawn="1">
          <p15:clr>
            <a:srgbClr val="F26B43"/>
          </p15:clr>
        </p15:guide>
        <p15:guide id="6" pos="3931" userDrawn="1">
          <p15:clr>
            <a:srgbClr val="F26B43"/>
          </p15:clr>
        </p15:guide>
        <p15:guide id="7" pos="4974" userDrawn="1">
          <p15:clr>
            <a:srgbClr val="F26B43"/>
          </p15:clr>
        </p15:guide>
        <p15:guide id="8" pos="5155" userDrawn="1">
          <p15:clr>
            <a:srgbClr val="F26B43"/>
          </p15:clr>
        </p15:guide>
        <p15:guide id="9" pos="7423" userDrawn="1">
          <p15:clr>
            <a:srgbClr val="F26B43"/>
          </p15:clr>
        </p15:guide>
        <p15:guide id="10" orient="horz" pos="754" userDrawn="1">
          <p15:clr>
            <a:srgbClr val="F26B43"/>
          </p15:clr>
        </p15:guide>
        <p15:guide id="11" orient="horz" pos="935" userDrawn="1">
          <p15:clr>
            <a:srgbClr val="F26B43"/>
          </p15:clr>
        </p15:guide>
        <p15:guide id="12" orient="horz" pos="2387" userDrawn="1">
          <p15:clr>
            <a:srgbClr val="F26B43"/>
          </p15:clr>
        </p15:guide>
        <p15:guide id="13" orient="horz" pos="2568" userDrawn="1">
          <p15:clr>
            <a:srgbClr val="F26B43"/>
          </p15:clr>
        </p15:guide>
        <p15:guide id="14" orient="horz" pos="4020" userDrawn="1">
          <p15:clr>
            <a:srgbClr val="F26B43"/>
          </p15:clr>
        </p15:guide>
        <p15:guide id="15" orient="horz" pos="41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A59BB06-C676-C34C-B0C3-9F12E0C8E7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Gruppieren 4">
            <a:extLst>
              <a:ext uri="{FF2B5EF4-FFF2-40B4-BE49-F238E27FC236}">
                <a16:creationId xmlns:a16="http://schemas.microsoft.com/office/drawing/2014/main" id="{E639897B-09C2-1845-BC58-E63A275DF4F0}"/>
              </a:ext>
            </a:extLst>
          </p:cNvPr>
          <p:cNvGrpSpPr/>
          <p:nvPr/>
        </p:nvGrpSpPr>
        <p:grpSpPr bwMode="gray">
          <a:xfrm>
            <a:off x="10566602" y="490326"/>
            <a:ext cx="1214480" cy="484470"/>
            <a:chOff x="-64593788" y="4924426"/>
            <a:chExt cx="63238063" cy="25223786"/>
          </a:xfrm>
          <a:solidFill>
            <a:schemeClr val="bg1"/>
          </a:solidFill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38444A8-AD6C-6B4F-A5D7-831520D5023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5" name="Rectangle 8">
              <a:extLst>
                <a:ext uri="{FF2B5EF4-FFF2-40B4-BE49-F238E27FC236}">
                  <a16:creationId xmlns:a16="http://schemas.microsoft.com/office/drawing/2014/main" id="{F88AC93D-F415-C44A-B99D-A14BCD97557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6" name="Rectangle 9">
              <a:extLst>
                <a:ext uri="{FF2B5EF4-FFF2-40B4-BE49-F238E27FC236}">
                  <a16:creationId xmlns:a16="http://schemas.microsoft.com/office/drawing/2014/main" id="{92EFC339-DEFD-4B42-813F-6E41B0BE95B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6E0E27EA-F2B4-E24E-A010-E5E349BBD02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BB569543-DAE1-D34B-88AF-9132F11B560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827E9DE3-D104-A64B-8CB4-BC93948B810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024B21E5-FC69-104C-8523-576FB8476C4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231E6622-7071-7749-9E45-44A96FDCE97B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7A501B61-CA11-6941-830E-FA8CEDB7BF0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6D0F4984-A9C8-154D-9DE7-BC5740BDC9D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7F1B5F45-13A2-494A-8BE9-A4A3EFA3E63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1DFE028A-DFC0-244B-8401-4026067D231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8FE87B4A-2D47-5B45-85A1-667D56FBFA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6C57877F-5B2E-E94E-BC1D-B87CDFDD6C30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8DFA2F95-F89C-D548-9546-9A68CADBA83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3C0A08DE-CE7E-8345-B358-045E7D818896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BF4EF448-E86F-6D47-B816-B7E05A4F158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0DD861B6-5D37-BF42-B987-E6319DF3648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AEDD5CC9-16F4-BD42-826B-02D57F1945B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00A627CA-FC34-8443-B26D-57CF6165C1E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29B63A5C-258D-7840-838C-66A385E8075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97DD3F53-2406-D84E-A593-1B44073A1EF1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F20A8E48-1505-D24A-9E5D-7212120CD09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38" name="Titel 8">
            <a:extLst>
              <a:ext uri="{FF2B5EF4-FFF2-40B4-BE49-F238E27FC236}">
                <a16:creationId xmlns:a16="http://schemas.microsoft.com/office/drawing/2014/main" id="{D1D8B36F-33F3-4745-8008-4E9D7D96CC52}"/>
              </a:ext>
            </a:extLst>
          </p:cNvPr>
          <p:cNvSpPr txBox="1">
            <a:spLocks/>
          </p:cNvSpPr>
          <p:nvPr/>
        </p:nvSpPr>
        <p:spPr bwMode="gray">
          <a:xfrm>
            <a:off x="142141" y="-366577"/>
            <a:ext cx="6873179" cy="1375432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defTabSz="609393" rtl="0" eaLnBrk="1" latinLnBrk="0" hangingPunct="1">
              <a:lnSpc>
                <a:spcPct val="85000"/>
              </a:lnSpc>
              <a:spcBef>
                <a:spcPct val="0"/>
              </a:spcBef>
              <a:buNone/>
              <a:tabLst>
                <a:tab pos="2509838" algn="l"/>
              </a:tabLst>
              <a:defRPr sz="3200" b="1" kern="1200" cap="all" baseline="0">
                <a:solidFill>
                  <a:schemeClr val="accent1"/>
                </a:solidFill>
                <a:latin typeface="Segoe UI"/>
                <a:ea typeface="+mj-ea"/>
                <a:cs typeface="+mj-cs"/>
              </a:defRPr>
            </a:lvl1pPr>
            <a:lvl2pPr algn="l" eaLnBrk="1" hangingPunct="1">
              <a:lnSpc>
                <a:spcPct val="85000"/>
              </a:lnSpc>
              <a:defRPr sz="2100" b="0">
                <a:solidFill>
                  <a:schemeClr val="accent1"/>
                </a:solidFill>
                <a:latin typeface="+mj-lt"/>
              </a:defRPr>
            </a:lvl2pPr>
            <a:lvl3pPr algn="l" eaLnBrk="1" hangingPunct="1">
              <a:lnSpc>
                <a:spcPct val="85000"/>
              </a:lnSpc>
              <a:defRPr sz="2100">
                <a:solidFill>
                  <a:schemeClr val="accent1"/>
                </a:solidFill>
                <a:latin typeface="+mj-lt"/>
              </a:defRPr>
            </a:lvl3pPr>
          </a:lstStyle>
          <a:p>
            <a:r>
              <a:rPr lang="en-US" sz="5000" dirty="0">
                <a:solidFill>
                  <a:schemeClr val="bg1"/>
                </a:solidFill>
              </a:rPr>
              <a:t>MHP mobility hack</a:t>
            </a:r>
          </a:p>
        </p:txBody>
      </p:sp>
      <p:sp>
        <p:nvSpPr>
          <p:cNvPr id="39" name="Titel 8">
            <a:extLst>
              <a:ext uri="{FF2B5EF4-FFF2-40B4-BE49-F238E27FC236}">
                <a16:creationId xmlns:a16="http://schemas.microsoft.com/office/drawing/2014/main" id="{F19DE82E-5A14-5D41-9BD4-ED0C13A222A6}"/>
              </a:ext>
            </a:extLst>
          </p:cNvPr>
          <p:cNvSpPr txBox="1">
            <a:spLocks/>
          </p:cNvSpPr>
          <p:nvPr/>
        </p:nvSpPr>
        <p:spPr bwMode="gray">
          <a:xfrm>
            <a:off x="156732" y="1014061"/>
            <a:ext cx="6873178" cy="1375432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defTabSz="609393" rtl="0" eaLnBrk="1" latinLnBrk="0" hangingPunct="1">
              <a:lnSpc>
                <a:spcPct val="85000"/>
              </a:lnSpc>
              <a:spcBef>
                <a:spcPct val="0"/>
              </a:spcBef>
              <a:buNone/>
              <a:tabLst>
                <a:tab pos="2509838" algn="l"/>
              </a:tabLst>
              <a:defRPr sz="3200" b="1" kern="1200" cap="all" baseline="0">
                <a:solidFill>
                  <a:schemeClr val="accent1"/>
                </a:solidFill>
                <a:latin typeface="Segoe UI"/>
                <a:ea typeface="+mj-ea"/>
                <a:cs typeface="+mj-cs"/>
              </a:defRPr>
            </a:lvl1pPr>
            <a:lvl2pPr algn="l" eaLnBrk="1" hangingPunct="1">
              <a:lnSpc>
                <a:spcPct val="85000"/>
              </a:lnSpc>
              <a:defRPr sz="2100" b="0">
                <a:solidFill>
                  <a:schemeClr val="accent1"/>
                </a:solidFill>
                <a:latin typeface="+mj-lt"/>
              </a:defRPr>
            </a:lvl2pPr>
            <a:lvl3pPr algn="l" eaLnBrk="1" hangingPunct="1">
              <a:lnSpc>
                <a:spcPct val="85000"/>
              </a:lnSpc>
              <a:defRPr sz="2100">
                <a:solidFill>
                  <a:schemeClr val="accent1"/>
                </a:solidFill>
                <a:latin typeface="+mj-lt"/>
              </a:defRPr>
            </a:lvl3pPr>
          </a:lstStyle>
          <a:p>
            <a:r>
              <a:rPr lang="en-US" sz="4000" dirty="0">
                <a:solidFill>
                  <a:schemeClr val="bg1"/>
                </a:solidFill>
              </a:rPr>
              <a:t>Sustainable smart traffic light</a:t>
            </a:r>
          </a:p>
        </p:txBody>
      </p:sp>
    </p:spTree>
    <p:extLst>
      <p:ext uri="{BB962C8B-B14F-4D97-AF65-F5344CB8AC3E}">
        <p14:creationId xmlns:p14="http://schemas.microsoft.com/office/powerpoint/2010/main" val="1702449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  <p:bldP spid="3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4">
            <a:extLst>
              <a:ext uri="{FF2B5EF4-FFF2-40B4-BE49-F238E27FC236}">
                <a16:creationId xmlns:a16="http://schemas.microsoft.com/office/drawing/2014/main" id="{B93CCD85-3AC4-4C10-9627-7ECC3B01DD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5775" y="1196975"/>
            <a:ext cx="7488238" cy="5184776"/>
          </a:xfrm>
        </p:spPr>
        <p:txBody>
          <a:bodyPr anchor="ctr">
            <a:normAutofit/>
          </a:bodyPr>
          <a:lstStyle/>
          <a:p>
            <a:r>
              <a:rPr lang="en-US" dirty="0"/>
              <a:t>Introductions</a:t>
            </a:r>
          </a:p>
        </p:txBody>
      </p:sp>
      <p:pic>
        <p:nvPicPr>
          <p:cNvPr id="12" name="Picture 11" descr="A group of people wearing masks&#10;&#10;Description automatically generated with low confidence">
            <a:extLst>
              <a:ext uri="{FF2B5EF4-FFF2-40B4-BE49-F238E27FC236}">
                <a16:creationId xmlns:a16="http://schemas.microsoft.com/office/drawing/2014/main" id="{1C35A8CE-570B-524C-A2A8-D6BDCA716ED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3530" r="14658" b="-1"/>
          <a:stretch/>
        </p:blipFill>
        <p:spPr>
          <a:xfrm>
            <a:off x="-1" y="10"/>
            <a:ext cx="4295775" cy="6857990"/>
          </a:xfrm>
          <a:custGeom>
            <a:avLst/>
            <a:gdLst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429577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311497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309592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5775" h="6858000">
                <a:moveTo>
                  <a:pt x="0" y="0"/>
                </a:moveTo>
                <a:lnTo>
                  <a:pt x="4295775" y="0"/>
                </a:lnTo>
                <a:lnTo>
                  <a:pt x="3095925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</p:spPr>
      </p:pic>
    </p:spTree>
    <p:extLst>
      <p:ext uri="{BB962C8B-B14F-4D97-AF65-F5344CB8AC3E}">
        <p14:creationId xmlns:p14="http://schemas.microsoft.com/office/powerpoint/2010/main" val="3699152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4">
            <a:extLst>
              <a:ext uri="{FF2B5EF4-FFF2-40B4-BE49-F238E27FC236}">
                <a16:creationId xmlns:a16="http://schemas.microsoft.com/office/drawing/2014/main" id="{B98F9987-03C4-4DA0-8E42-C68D957F2C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0463" y="1484313"/>
            <a:ext cx="5545904" cy="792162"/>
          </a:xfrm>
        </p:spPr>
        <p:txBody>
          <a:bodyPr/>
          <a:lstStyle/>
          <a:p>
            <a:r>
              <a:rPr lang="en-US" dirty="0"/>
              <a:t>The challenge</a:t>
            </a:r>
          </a:p>
        </p:txBody>
      </p:sp>
      <p:pic>
        <p:nvPicPr>
          <p:cNvPr id="8" name="Picture 7" descr="A traffic light showing green&#10;&#10;Description automatically generated with medium confidence">
            <a:extLst>
              <a:ext uri="{FF2B5EF4-FFF2-40B4-BE49-F238E27FC236}">
                <a16:creationId xmlns:a16="http://schemas.microsoft.com/office/drawing/2014/main" id="{9619AC09-0FCB-B841-9993-73A1749300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468" r="17604" b="-1"/>
          <a:stretch/>
        </p:blipFill>
        <p:spPr>
          <a:xfrm>
            <a:off x="-1" y="10"/>
            <a:ext cx="5951539" cy="6857990"/>
          </a:xfrm>
          <a:custGeom>
            <a:avLst/>
            <a:gdLst>
              <a:gd name="connsiteX0" fmla="*/ 0 w 5951539"/>
              <a:gd name="connsiteY0" fmla="*/ 0 h 6858000"/>
              <a:gd name="connsiteX1" fmla="*/ 1655764 w 5951539"/>
              <a:gd name="connsiteY1" fmla="*/ 0 h 6858000"/>
              <a:gd name="connsiteX2" fmla="*/ 4295775 w 5951539"/>
              <a:gd name="connsiteY2" fmla="*/ 0 h 6858000"/>
              <a:gd name="connsiteX3" fmla="*/ 5951539 w 5951539"/>
              <a:gd name="connsiteY3" fmla="*/ 0 h 6858000"/>
              <a:gd name="connsiteX4" fmla="*/ 4751689 w 5951539"/>
              <a:gd name="connsiteY4" fmla="*/ 6858000 h 6858000"/>
              <a:gd name="connsiteX5" fmla="*/ 3095925 w 5951539"/>
              <a:gd name="connsiteY5" fmla="*/ 6858000 h 6858000"/>
              <a:gd name="connsiteX6" fmla="*/ 1655764 w 5951539"/>
              <a:gd name="connsiteY6" fmla="*/ 6858000 h 6858000"/>
              <a:gd name="connsiteX7" fmla="*/ 0 w 5951539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51539" h="6858000">
                <a:moveTo>
                  <a:pt x="0" y="0"/>
                </a:moveTo>
                <a:lnTo>
                  <a:pt x="1655764" y="0"/>
                </a:lnTo>
                <a:lnTo>
                  <a:pt x="4295775" y="0"/>
                </a:lnTo>
                <a:lnTo>
                  <a:pt x="5951539" y="0"/>
                </a:lnTo>
                <a:lnTo>
                  <a:pt x="4751689" y="6858000"/>
                </a:lnTo>
                <a:lnTo>
                  <a:pt x="3095925" y="6858000"/>
                </a:lnTo>
                <a:lnTo>
                  <a:pt x="1655764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</p:pic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D15A046A-9B2D-48DF-9088-BB944D4149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463" y="2589213"/>
            <a:ext cx="5545137" cy="379253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3 da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any tool you see f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rite software to be able to intelligently control a traffic light to be able to further sustainability, relieve traffic, and improve the lives of people driving the cars and aro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viously developed software can be used, but it must be made clear what was previously developed and what was developed n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91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8A0D15-8BF1-D54E-8EE3-ACB20793A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03.03.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119CFB-C2C3-7B4A-A2FD-52686C7500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AFFA25-F92A-664C-8F6F-29ED44705A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8CE4F9C-B048-894E-973C-A4310CDE5F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sentations</a:t>
            </a:r>
          </a:p>
        </p:txBody>
      </p:sp>
      <p:pic>
        <p:nvPicPr>
          <p:cNvPr id="9" name="Picture Placeholder 8" descr="A picture containing person, standing&#10;&#10;Description automatically generated">
            <a:extLst>
              <a:ext uri="{FF2B5EF4-FFF2-40B4-BE49-F238E27FC236}">
                <a16:creationId xmlns:a16="http://schemas.microsoft.com/office/drawing/2014/main" id="{80DFB429-578D-CC4B-9D3A-E89E37C5D53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18716" r="18716"/>
          <a:stretch>
            <a:fillRect/>
          </a:stretch>
        </p:blipFill>
        <p:spPr/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141D3E5-4AB8-D841-9B9B-99C0D34BEA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5-minute presentation to present your sol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 member per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bmission deadline by 10 a.m. on Sun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submission must include anything you would like to utilize to present, i.e. </a:t>
            </a:r>
            <a:r>
              <a:rPr lang="en-US" dirty="0" err="1"/>
              <a:t>Powerpoi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bmit link to </a:t>
            </a:r>
            <a:r>
              <a:rPr lang="en-US" dirty="0" err="1"/>
              <a:t>Github</a:t>
            </a:r>
            <a:r>
              <a:rPr lang="en-US" dirty="0"/>
              <a:t> repository or all code that you used for the challe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512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4">
            <a:extLst>
              <a:ext uri="{FF2B5EF4-FFF2-40B4-BE49-F238E27FC236}">
                <a16:creationId xmlns:a16="http://schemas.microsoft.com/office/drawing/2014/main" id="{38429F0B-A29A-4BE1-8C85-7AD434926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5775" y="1196975"/>
            <a:ext cx="7488238" cy="5184776"/>
          </a:xfrm>
        </p:spPr>
        <p:txBody>
          <a:bodyPr/>
          <a:lstStyle/>
          <a:p>
            <a:r>
              <a:rPr lang="en-US" dirty="0"/>
              <a:t>questions</a:t>
            </a:r>
          </a:p>
        </p:txBody>
      </p:sp>
      <p:pic>
        <p:nvPicPr>
          <p:cNvPr id="11" name="Picture 10" descr="A group of people sitting in chairs&#10;&#10;Description automatically generated with low confidence">
            <a:extLst>
              <a:ext uri="{FF2B5EF4-FFF2-40B4-BE49-F238E27FC236}">
                <a16:creationId xmlns:a16="http://schemas.microsoft.com/office/drawing/2014/main" id="{1A130C20-4C5B-2F4F-BF27-B9845AE7F49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979" r="36209" b="-1"/>
          <a:stretch/>
        </p:blipFill>
        <p:spPr>
          <a:xfrm>
            <a:off x="-1" y="10"/>
            <a:ext cx="4295775" cy="6857990"/>
          </a:xfrm>
          <a:custGeom>
            <a:avLst/>
            <a:gdLst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429577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311497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309592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5775" h="6858000">
                <a:moveTo>
                  <a:pt x="0" y="0"/>
                </a:moveTo>
                <a:lnTo>
                  <a:pt x="4295775" y="0"/>
                </a:lnTo>
                <a:lnTo>
                  <a:pt x="3095925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</p:spPr>
      </p:pic>
    </p:spTree>
    <p:extLst>
      <p:ext uri="{BB962C8B-B14F-4D97-AF65-F5344CB8AC3E}">
        <p14:creationId xmlns:p14="http://schemas.microsoft.com/office/powerpoint/2010/main" val="1808526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ddd969b99f4de63d55cbadae081c666c3411ba"/>
  <p:tag name="FINNOVA_CATEGORY" val="No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HP Vortragsfolien Template 2017">
  <a:themeElements>
    <a:clrScheme name="MHP">
      <a:dk1>
        <a:sysClr val="windowText" lastClr="000000"/>
      </a:dk1>
      <a:lt1>
        <a:sysClr val="window" lastClr="FFFFFF"/>
      </a:lt1>
      <a:dk2>
        <a:srgbClr val="575757"/>
      </a:dk2>
      <a:lt2>
        <a:srgbClr val="BEBEBE"/>
      </a:lt2>
      <a:accent1>
        <a:srgbClr val="000099"/>
      </a:accent1>
      <a:accent2>
        <a:srgbClr val="009BD2"/>
      </a:accent2>
      <a:accent3>
        <a:srgbClr val="9DCCE6"/>
      </a:accent3>
      <a:accent4>
        <a:srgbClr val="F5C500"/>
      </a:accent4>
      <a:accent5>
        <a:srgbClr val="87BC49"/>
      </a:accent5>
      <a:accent6>
        <a:srgbClr val="8FC087"/>
      </a:accent6>
      <a:hlink>
        <a:srgbClr val="000000"/>
      </a:hlink>
      <a:folHlink>
        <a:srgbClr val="000000"/>
      </a:folHlink>
    </a:clrScheme>
    <a:fontScheme name="MHP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80000"/>
          </a:lnSpc>
          <a:defRPr sz="1400" b="1" dirty="0" err="1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  <a:miter lim="800000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spcBef>
            <a:spcPts val="200"/>
          </a:spcBef>
          <a:spcAft>
            <a:spcPts val="200"/>
          </a:spcAft>
          <a:buClr>
            <a:schemeClr val="accent1"/>
          </a:buClr>
          <a:buFont typeface="Wingdings" panose="05000000000000000000" pitchFamily="2" charset="2"/>
          <a:buChar char="§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HP_Template_2018_16-9_DE_04_EXP_2016" id="{14A12B1D-C47E-481A-9881-3C3C2EA3037F}" vid="{22B5AFFA-CED3-46F6-A126-45BA6AAA5610}"/>
    </a:ext>
  </a:extLst>
</a:theme>
</file>

<file path=ppt/theme/theme2.xml><?xml version="1.0" encoding="utf-8"?>
<a:theme xmlns:a="http://schemas.openxmlformats.org/drawingml/2006/main" name="Larissa">
  <a:themeElements>
    <a:clrScheme name="MHP">
      <a:dk1>
        <a:sysClr val="windowText" lastClr="000000"/>
      </a:dk1>
      <a:lt1>
        <a:sysClr val="window" lastClr="FFFFFF"/>
      </a:lt1>
      <a:dk2>
        <a:srgbClr val="575757"/>
      </a:dk2>
      <a:lt2>
        <a:srgbClr val="BEBEBE"/>
      </a:lt2>
      <a:accent1>
        <a:srgbClr val="000099"/>
      </a:accent1>
      <a:accent2>
        <a:srgbClr val="009BD2"/>
      </a:accent2>
      <a:accent3>
        <a:srgbClr val="9DCCE6"/>
      </a:accent3>
      <a:accent4>
        <a:srgbClr val="F5C500"/>
      </a:accent4>
      <a:accent5>
        <a:srgbClr val="87BC49"/>
      </a:accent5>
      <a:accent6>
        <a:srgbClr val="8FC087"/>
      </a:accent6>
      <a:hlink>
        <a:srgbClr val="000000"/>
      </a:hlink>
      <a:folHlink>
        <a:srgbClr val="000000"/>
      </a:folHlink>
    </a:clrScheme>
    <a:fontScheme name="MHP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80000"/>
          </a:lnSpc>
          <a:defRPr sz="1000" b="1" dirty="0" err="1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  <a:miter lim="800000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spcBef>
            <a:spcPts val="200"/>
          </a:spcBef>
          <a:spcAft>
            <a:spcPts val="200"/>
          </a:spcAft>
          <a:buClr>
            <a:schemeClr val="accent1"/>
          </a:buClr>
          <a:buFont typeface="Wingdings" panose="05000000000000000000" pitchFamily="2" charset="2"/>
          <a:buChar char="§"/>
          <a:defRPr sz="1000" dirty="0" err="1" smtClean="0">
            <a:solidFill>
              <a:schemeClr val="tx2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MHP">
      <a:dk1>
        <a:sysClr val="windowText" lastClr="000000"/>
      </a:dk1>
      <a:lt1>
        <a:sysClr val="window" lastClr="FFFFFF"/>
      </a:lt1>
      <a:dk2>
        <a:srgbClr val="575757"/>
      </a:dk2>
      <a:lt2>
        <a:srgbClr val="BEBEBE"/>
      </a:lt2>
      <a:accent1>
        <a:srgbClr val="000099"/>
      </a:accent1>
      <a:accent2>
        <a:srgbClr val="009BD2"/>
      </a:accent2>
      <a:accent3>
        <a:srgbClr val="9DCCE6"/>
      </a:accent3>
      <a:accent4>
        <a:srgbClr val="F5C500"/>
      </a:accent4>
      <a:accent5>
        <a:srgbClr val="87BC49"/>
      </a:accent5>
      <a:accent6>
        <a:srgbClr val="8FC087"/>
      </a:accent6>
      <a:hlink>
        <a:srgbClr val="000000"/>
      </a:hlink>
      <a:folHlink>
        <a:srgbClr val="000000"/>
      </a:folHlink>
    </a:clrScheme>
    <a:fontScheme name="MHP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80000"/>
          </a:lnSpc>
          <a:defRPr sz="1400" b="1" dirty="0" err="1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  <a:miter lim="800000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>
          <a:spcBef>
            <a:spcPts val="200"/>
          </a:spcBef>
          <a:spcAft>
            <a:spcPts val="200"/>
          </a:spcAft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C46C1BBDA89664CBC9CFFA52E097338" ma:contentTypeVersion="12" ma:contentTypeDescription="Ein neues Dokument erstellen." ma:contentTypeScope="" ma:versionID="181a0336ed76ba2c1290dbb1e815c1e8">
  <xsd:schema xmlns:xsd="http://www.w3.org/2001/XMLSchema" xmlns:xs="http://www.w3.org/2001/XMLSchema" xmlns:p="http://schemas.microsoft.com/office/2006/metadata/properties" xmlns:ns2="6383705d-f662-443d-b225-c02f1f09d3e6" xmlns:ns3="921d8b57-8398-4c9a-970e-e06d7d9c25f1" targetNamespace="http://schemas.microsoft.com/office/2006/metadata/properties" ma:root="true" ma:fieldsID="28f047b9b1fc48006305719a1dec908b" ns2:_="" ns3:_="">
    <xsd:import namespace="6383705d-f662-443d-b225-c02f1f09d3e6"/>
    <xsd:import namespace="921d8b57-8398-4c9a-970e-e06d7d9c25f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83705d-f662-443d-b225-c02f1f09d3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1d8b57-8398-4c9a-970e-e06d7d9c25f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6A68568-58A9-4B33-8A0C-8B3898267E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83705d-f662-443d-b225-c02f1f09d3e6"/>
    <ds:schemaRef ds:uri="921d8b57-8398-4c9a-970e-e06d7d9c25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B6F2769-7194-4217-93D3-3AF3A4742282}">
  <ds:schemaRefs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microsoft.com/sharepoint/v3/fields"/>
    <ds:schemaRef ds:uri="http://purl.org/dc/elements/1.1/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HP_Template_2018_16-9_DE_04_EXP_2016</Template>
  <TotalTime>14</TotalTime>
  <Words>134</Words>
  <Application>Microsoft Macintosh PowerPoint</Application>
  <PresentationFormat>Widescreen</PresentationFormat>
  <Paragraphs>18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Segoe UI</vt:lpstr>
      <vt:lpstr>Symbol</vt:lpstr>
      <vt:lpstr>Wingdings</vt:lpstr>
      <vt:lpstr>MHP Vortragsfolien Template 2017</vt:lpstr>
      <vt:lpstr>think-cell Folie</vt:lpstr>
      <vt:lpstr>PowerPoint Presentation</vt:lpstr>
      <vt:lpstr>Introductions</vt:lpstr>
      <vt:lpstr>The challenge</vt:lpstr>
      <vt:lpstr>presentations</vt:lpstr>
      <vt:lpstr>questions</vt:lpstr>
    </vt:vector>
  </TitlesOfParts>
  <Company>Mieschke Hofmann und Partn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ww.mhp.com</dc:creator>
  <cp:lastModifiedBy>Alexander Aichinger</cp:lastModifiedBy>
  <cp:revision>7</cp:revision>
  <cp:lastPrinted>2018-06-27T14:42:17Z</cp:lastPrinted>
  <dcterms:created xsi:type="dcterms:W3CDTF">2018-03-28T07:26:24Z</dcterms:created>
  <dcterms:modified xsi:type="dcterms:W3CDTF">2022-03-03T19:25:0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46C1BBDA89664CBC9CFFA52E097338</vt:lpwstr>
  </property>
</Properties>
</file>